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2"/>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Sector" id="{C6D9DF5B-7111-4130-B9FA-F8306DB1D923}">
          <p14:sldIdLst>
            <p14:sldId id="2147475173"/>
            <p14:sldId id="2147475174"/>
            <p14:sldId id="2147475175"/>
            <p14:sldId id="2147475176"/>
            <p14:sldId id="2147475177"/>
            <p14:sldId id="2147475178"/>
            <p14:sldId id="2147475179"/>
            <p14:sldId id="2147475180"/>
            <p14:sldId id="2147475181"/>
          </p14:sldIdLst>
        </p14:section>
        <p14:section name="Brackets By Segment" id="{7B504040-AE33-46DB-B04B-FA52B5AD321E}">
          <p14:sldIdLst>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notesMaster" Target="notesMasters/notesMaster1.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37" Type="http://schemas.microsoft.com/office/2015/10/relationships/revisionInfo" Target="revisionInfo.xml"/><Relationship Id="rId3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303497370545168</c:v>
                </c:pt>
                <c:pt idx="1">
                  <c:v>0.0008015867303194407</c:v>
                </c:pt>
                <c:pt idx="2">
                  <c:v>0.0045273898474471165</c:v>
                </c:pt>
                <c:pt idx="3">
                  <c:v>0.010784718575471577</c:v>
                </c:pt>
                <c:pt idx="4">
                  <c:v>0.014700803084192849</c:v>
                </c:pt>
                <c:pt idx="5">
                  <c:v>0.01641737998813221</c:v>
                </c:pt>
                <c:pt idx="6">
                  <c:v>0.009669039733590734</c:v>
                </c:pt>
                <c:pt idx="7">
                  <c:v>0.030122600347923512</c:v>
                </c:pt>
                <c:pt idx="8">
                  <c:v>0.01947100751642738</c:v>
                </c:pt>
                <c:pt idx="9">
                  <c:v>0.005899785373338700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4325718494863588</c:v>
                </c:pt>
                <c:pt idx="3">
                  <c:v>0.0010390500489843798</c:v>
                </c:pt>
                <c:pt idx="4">
                  <c:v>0.0007116564270688653</c:v>
                </c:pt>
                <c:pt idx="5">
                  <c:v>0.0028464754002435724</c:v>
                </c:pt>
                <c:pt idx="6">
                  <c:v>0.0018184199227900617</c:v>
                </c:pt>
                <c:pt idx="7">
                  <c:v>0.005960770123429714</c:v>
                </c:pt>
                <c:pt idx="8">
                  <c:v>0.00670968964840137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1167271179697643</c:v>
                </c:pt>
                <c:pt idx="3">
                  <c:v>0.007866591272100692</c:v>
                </c:pt>
                <c:pt idx="4">
                  <c:v>0.00306945275553278</c:v>
                </c:pt>
                <c:pt idx="5">
                  <c:v>0.007875995923436902</c:v>
                </c:pt>
                <c:pt idx="6">
                  <c:v>0.021394408701084867</c:v>
                </c:pt>
                <c:pt idx="7">
                  <c:v>0.01895965680448826</c:v>
                </c:pt>
                <c:pt idx="8">
                  <c:v>0.044857697249526145</c:v>
                </c:pt>
                <c:pt idx="9">
                  <c:v>0.020567878127733034</c:v>
                </c:pt>
                <c:pt idx="10">
                  <c:v>0.0162305938479335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06261946250801534</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458028220179034</c:v>
                </c:pt>
                <c:pt idx="1">
                  <c:v>0.002824360392966828</c:v>
                </c:pt>
                <c:pt idx="2">
                  <c:v>0.0037830453902021554</c:v>
                </c:pt>
                <c:pt idx="3">
                  <c:v>0.010287898640572477</c:v>
                </c:pt>
                <c:pt idx="4">
                  <c:v>0.013736536319930227</c:v>
                </c:pt>
                <c:pt idx="5">
                  <c:v>0.015457709733540919</c:v>
                </c:pt>
                <c:pt idx="6">
                  <c:v>0.02399979194795353</c:v>
                </c:pt>
                <c:pt idx="7">
                  <c:v>0.047508936239190495</c:v>
                </c:pt>
                <c:pt idx="8">
                  <c:v>0.04131920195511013</c:v>
                </c:pt>
                <c:pt idx="9">
                  <c:v>0.011560691616408235</c:v>
                </c:pt>
                <c:pt idx="10">
                  <c:v>0.0552270782815825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726546897018518</c:v>
                </c:pt>
                <c:pt idx="1">
                  <c:v>0.004747573102930981</c:v>
                </c:pt>
                <c:pt idx="2">
                  <c:v>0.0027756355035595754</c:v>
                </c:pt>
                <c:pt idx="3">
                  <c:v>0.0033550427333496643</c:v>
                </c:pt>
                <c:pt idx="4">
                  <c:v>0.0058243693368307745</c:v>
                </c:pt>
                <c:pt idx="5">
                  <c:v>0.039079645300559046</c:v>
                </c:pt>
                <c:pt idx="6">
                  <c:v>0.03400025896208445</c:v>
                </c:pt>
                <c:pt idx="7">
                  <c:v>0.03770910107216722</c:v>
                </c:pt>
                <c:pt idx="8">
                  <c:v>0.07048411264086826</c:v>
                </c:pt>
                <c:pt idx="9">
                  <c:v>0.047224736557063725</c:v>
                </c:pt>
                <c:pt idx="10">
                  <c:v>0.00547626665594821</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891458822978722</c:v>
                </c:pt>
                <c:pt idx="1">
                  <c:v>0.0037684168378946032</c:v>
                </c:pt>
                <c:pt idx="2">
                  <c:v>0.007183977959039477</c:v>
                </c:pt>
                <c:pt idx="3">
                  <c:v>0.003760001303464391</c:v>
                </c:pt>
                <c:pt idx="4">
                  <c:v>0.009120133670043452</c:v>
                </c:pt>
                <c:pt idx="5">
                  <c:v>0.01105401310420501</c:v>
                </c:pt>
                <c:pt idx="6">
                  <c:v>0.022707547483203548</c:v>
                </c:pt>
                <c:pt idx="7">
                  <c:v>0.030871876452434447</c:v>
                </c:pt>
                <c:pt idx="8">
                  <c:v>0.06625722693024812</c:v>
                </c:pt>
                <c:pt idx="9">
                  <c:v>0.01242199309043797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4596147096625526</c:v>
                </c:pt>
                <c:pt idx="1">
                  <c:v>0.0012110511106796953</c:v>
                </c:pt>
                <c:pt idx="2">
                  <c:v>0.0016422824955552736</c:v>
                </c:pt>
                <c:pt idx="3">
                  <c:v>0.0014997540300186402</c:v>
                </c:pt>
                <c:pt idx="4">
                  <c:v>0.002605582656953765</c:v>
                </c:pt>
                <c:pt idx="5">
                  <c:v>0.007670364243679351</c:v>
                </c:pt>
                <c:pt idx="6">
                  <c:v>0.012691836961792952</c:v>
                </c:pt>
                <c:pt idx="7">
                  <c:v>0.0041352720002963035</c:v>
                </c:pt>
                <c:pt idx="8">
                  <c:v>0.0016727930962537197</c:v>
                </c:pt>
                <c:pt idx="9">
                  <c:v>0.000813860957106106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3377181962446</c:v>
                </c:pt>
                <c:pt idx="1">
                  <c:v>0.021306896673764054</c:v>
                </c:pt>
                <c:pt idx="2">
                  <c:v>0.025548831278795543</c:v>
                </c:pt>
                <c:pt idx="3">
                  <c:v>0.05776797036686218</c:v>
                </c:pt>
                <c:pt idx="4">
                  <c:v>0.07327807666778323</c:v>
                </c:pt>
                <c:pt idx="5">
                  <c:v>0.11719239595450313</c:v>
                </c:pt>
                <c:pt idx="6">
                  <c:v>0.1336363149639797</c:v>
                </c:pt>
                <c:pt idx="7">
                  <c:v>0.18577181469164547</c:v>
                </c:pt>
                <c:pt idx="8">
                  <c:v>0.2060222230819663</c:v>
                </c:pt>
                <c:pt idx="9">
                  <c:v>0.13022682695731488</c:v>
                </c:pt>
                <c:pt idx="10">
                  <c:v>0.0253148775437610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3377181962446</c:v>
                </c:pt>
                <c:pt idx="1">
                  <c:v>0.021306896673764054</c:v>
                </c:pt>
                <c:pt idx="2">
                  <c:v>0.025548831278795543</c:v>
                </c:pt>
                <c:pt idx="3">
                  <c:v>0.05776797036686218</c:v>
                </c:pt>
                <c:pt idx="4">
                  <c:v>0.07327807666778323</c:v>
                </c:pt>
                <c:pt idx="5">
                  <c:v>0.11719239595450313</c:v>
                </c:pt>
                <c:pt idx="6">
                  <c:v>0.1336363149639797</c:v>
                </c:pt>
                <c:pt idx="7">
                  <c:v>0.18577181469164547</c:v>
                </c:pt>
                <c:pt idx="8">
                  <c:v>0.2060222230819663</c:v>
                </c:pt>
                <c:pt idx="9">
                  <c:v>0.13022682695731488</c:v>
                </c:pt>
                <c:pt idx="10">
                  <c:v>0.0253148775437610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423272794025641</c:v>
                </c:pt>
                <c:pt idx="1">
                  <c:v>0.0018699801719232207</c:v>
                </c:pt>
                <c:pt idx="2">
                  <c:v>0.004222652462536406</c:v>
                </c:pt>
                <c:pt idx="3">
                  <c:v>0.020522626577420548</c:v>
                </c:pt>
                <c:pt idx="4">
                  <c:v>0.015975438218710107</c:v>
                </c:pt>
                <c:pt idx="5">
                  <c:v>0.015453939690534109</c:v>
                </c:pt>
                <c:pt idx="6">
                  <c:v>0.008674694676086671</c:v>
                </c:pt>
                <c:pt idx="7">
                  <c:v>0.025255939674247784</c:v>
                </c:pt>
                <c:pt idx="8">
                  <c:v>0.020739784650534145</c:v>
                </c:pt>
                <c:pt idx="9">
                  <c:v>0.002385663948605094</c:v>
                </c:pt>
                <c:pt idx="10">
                  <c:v>0.001114899249908473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678135798348714</c:v>
                </c:pt>
                <c:pt idx="3">
                  <c:v>0.004264468492051437</c:v>
                </c:pt>
                <c:pt idx="4">
                  <c:v>0.0007576376563286687</c:v>
                </c:pt>
                <c:pt idx="5">
                  <c:v>0.0030338525510822125</c:v>
                </c:pt>
                <c:pt idx="6">
                  <c:v>0.002051495762900985</c:v>
                </c:pt>
                <c:pt idx="7">
                  <c:v>0.0064798122849179405</c:v>
                </c:pt>
                <c:pt idx="8">
                  <c:v>0.00637063797336999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0907894435441017</c:v>
                </c:pt>
                <c:pt idx="2">
                  <c:v>0.0008447272029785388</c:v>
                </c:pt>
                <c:pt idx="3">
                  <c:v>0.008416894814536469</c:v>
                </c:pt>
                <c:pt idx="4">
                  <c:v>0.0032998018464416566</c:v>
                </c:pt>
                <c:pt idx="5">
                  <c:v>0.011127523708940407</c:v>
                </c:pt>
                <c:pt idx="6">
                  <c:v>0.014121405645706695</c:v>
                </c:pt>
                <c:pt idx="7">
                  <c:v>0.03547640104056778</c:v>
                </c:pt>
                <c:pt idx="8">
                  <c:v>0.03517075838225815</c:v>
                </c:pt>
                <c:pt idx="9">
                  <c:v>0.022070509661563386</c:v>
                </c:pt>
                <c:pt idx="10">
                  <c:v>0.00663024812324943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06431278241540765</c:v>
                </c:pt>
                <c:pt idx="7">
                  <c:v>0.0008859648936718243</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040450129961954</c:v>
                </c:pt>
                <c:pt idx="1">
                  <c:v>0.00349355413344395</c:v>
                </c:pt>
                <c:pt idx="2">
                  <c:v>0.007632625972724029</c:v>
                </c:pt>
                <c:pt idx="3">
                  <c:v>0.011570778389017792</c:v>
                </c:pt>
                <c:pt idx="4">
                  <c:v>0.00868395687895207</c:v>
                </c:pt>
                <c:pt idx="5">
                  <c:v>0.025823844561111847</c:v>
                </c:pt>
                <c:pt idx="6">
                  <c:v>0.034517393584599855</c:v>
                </c:pt>
                <c:pt idx="7">
                  <c:v>0.03971042582722377</c:v>
                </c:pt>
                <c:pt idx="8">
                  <c:v>0.04140825924617529</c:v>
                </c:pt>
                <c:pt idx="9">
                  <c:v>0.04906695311993414</c:v>
                </c:pt>
                <c:pt idx="10">
                  <c:v>0.01512309601215673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872272484960622</c:v>
                </c:pt>
                <c:pt idx="1">
                  <c:v>0.005719814855652821</c:v>
                </c:pt>
                <c:pt idx="2">
                  <c:v>0.002347748256176413</c:v>
                </c:pt>
                <c:pt idx="3">
                  <c:v>0.005133942574851574</c:v>
                </c:pt>
                <c:pt idx="4">
                  <c:v>0.01386845203766713</c:v>
                </c:pt>
                <c:pt idx="5">
                  <c:v>0.036613656034084736</c:v>
                </c:pt>
                <c:pt idx="6">
                  <c:v>0.03309695329339816</c:v>
                </c:pt>
                <c:pt idx="7">
                  <c:v>0.04302194123023514</c:v>
                </c:pt>
                <c:pt idx="8">
                  <c:v>0.06125838566357726</c:v>
                </c:pt>
                <c:pt idx="9">
                  <c:v>0.03889475356374985</c:v>
                </c:pt>
                <c:pt idx="10">
                  <c:v>0.001586744692995805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271021512496752</c:v>
                </c:pt>
                <c:pt idx="1">
                  <c:v>0.021245802265347145</c:v>
                </c:pt>
                <c:pt idx="2">
                  <c:v>0.02396144426589359</c:v>
                </c:pt>
                <c:pt idx="3">
                  <c:v>0.050901229337699264</c:v>
                </c:pt>
                <c:pt idx="4">
                  <c:v>0.0572611611429461</c:v>
                </c:pt>
                <c:pt idx="5">
                  <c:v>0.1127246946841784</c:v>
                </c:pt>
                <c:pt idx="6">
                  <c:v>0.12676517554889696</c:v>
                </c:pt>
                <c:pt idx="7">
                  <c:v>0.17928628049053233</c:v>
                </c:pt>
                <c:pt idx="8">
                  <c:v>0.19688686208912762</c:v>
                </c:pt>
                <c:pt idx="9">
                  <c:v>0.12974338337451596</c:v>
                </c:pt>
                <c:pt idx="10">
                  <c:v>0.02529582748951330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949005832491818</c:v>
                </c:pt>
                <c:pt idx="1">
                  <c:v>0.006667058573808361</c:v>
                </c:pt>
                <c:pt idx="2">
                  <c:v>0.006063980399427411</c:v>
                </c:pt>
                <c:pt idx="3">
                  <c:v>0.004272133676868935</c:v>
                </c:pt>
                <c:pt idx="4">
                  <c:v>0.01087142499151664</c:v>
                </c:pt>
                <c:pt idx="5">
                  <c:v>0.014290463743192192</c:v>
                </c:pt>
                <c:pt idx="6">
                  <c:v>0.029265414690745215</c:v>
                </c:pt>
                <c:pt idx="7">
                  <c:v>0.033981436585880216</c:v>
                </c:pt>
                <c:pt idx="8">
                  <c:v>0.03509563580745347</c:v>
                </c:pt>
                <c:pt idx="9">
                  <c:v>0.016894529005197976</c:v>
                </c:pt>
                <c:pt idx="10">
                  <c:v>0.000840839411202855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3377181962446</c:v>
                </c:pt>
                <c:pt idx="1">
                  <c:v>0.021306896673764054</c:v>
                </c:pt>
                <c:pt idx="2">
                  <c:v>0.025548831278795543</c:v>
                </c:pt>
                <c:pt idx="3">
                  <c:v>0.05776797036686218</c:v>
                </c:pt>
                <c:pt idx="4">
                  <c:v>0.07327807666778323</c:v>
                </c:pt>
                <c:pt idx="5">
                  <c:v>0.11719239595450313</c:v>
                </c:pt>
                <c:pt idx="6">
                  <c:v>0.1336363149639797</c:v>
                </c:pt>
                <c:pt idx="7">
                  <c:v>0.18577181469164547</c:v>
                </c:pt>
                <c:pt idx="8">
                  <c:v>0.2060222230819663</c:v>
                </c:pt>
                <c:pt idx="9">
                  <c:v>0.13022682695731488</c:v>
                </c:pt>
                <c:pt idx="10">
                  <c:v>0.0253148775437610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730827586005566</c:v>
                </c:pt>
                <c:pt idx="2">
                  <c:v>0.0028497099720507916</c:v>
                </c:pt>
                <c:pt idx="3">
                  <c:v>0.0009848533050039476</c:v>
                </c:pt>
                <c:pt idx="4">
                  <c:v>0.004562087169658495</c:v>
                </c:pt>
                <c:pt idx="5">
                  <c:v>0.009415266946315106</c:v>
                </c:pt>
                <c:pt idx="6">
                  <c:v>0.007089313658360362</c:v>
                </c:pt>
                <c:pt idx="7">
                  <c:v>0.0018401361323776464</c:v>
                </c:pt>
                <c:pt idx="8">
                  <c:v>0.003214038339129281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678135798348714</c:v>
                </c:pt>
                <c:pt idx="3">
                  <c:v>0.004264468492051437</c:v>
                </c:pt>
                <c:pt idx="4">
                  <c:v>0.0007576376563286687</c:v>
                </c:pt>
                <c:pt idx="5">
                  <c:v>0.0030338525510822125</c:v>
                </c:pt>
                <c:pt idx="6">
                  <c:v>0.0026946235870550614</c:v>
                </c:pt>
                <c:pt idx="7">
                  <c:v>0.007365777178589765</c:v>
                </c:pt>
                <c:pt idx="8">
                  <c:v>0.00682760091441314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662527329399</c:v>
                </c:pt>
                <c:pt idx="1">
                  <c:v>0.009922473300098737</c:v>
                </c:pt>
                <c:pt idx="2">
                  <c:v>0.016234090341292837</c:v>
                </c:pt>
                <c:pt idx="3">
                  <c:v>0.07892262515697393</c:v>
                </c:pt>
                <c:pt idx="4">
                  <c:v>0.06113448454300473</c:v>
                </c:pt>
                <c:pt idx="5">
                  <c:v>0.11702285157285876</c:v>
                </c:pt>
                <c:pt idx="6">
                  <c:v>0.1260705027379858</c:v>
                </c:pt>
                <c:pt idx="7">
                  <c:v>0.17930534937108045</c:v>
                </c:pt>
                <c:pt idx="8">
                  <c:v>0.22856998037928503</c:v>
                </c:pt>
                <c:pt idx="9">
                  <c:v>0.10314664132259938</c:v>
                </c:pt>
                <c:pt idx="10">
                  <c:v>0.0642047485418804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6475234244963046</c:v>
                </c:pt>
                <c:pt idx="1">
                  <c:v>0.0021484324270327876</c:v>
                </c:pt>
                <c:pt idx="2">
                  <c:v>0.005958520937781016</c:v>
                </c:pt>
                <c:pt idx="3">
                  <c:v>0.025478176351973043</c:v>
                </c:pt>
                <c:pt idx="4">
                  <c:v>0.008270601632803765</c:v>
                </c:pt>
                <c:pt idx="5">
                  <c:v>0.015117349486164442</c:v>
                </c:pt>
                <c:pt idx="6">
                  <c:v>0.0057226296523407855</c:v>
                </c:pt>
                <c:pt idx="7">
                  <c:v>0.027661638160798394</c:v>
                </c:pt>
                <c:pt idx="8">
                  <c:v>0.018754507869795115</c:v>
                </c:pt>
                <c:pt idx="9">
                  <c:v>0.01110202568484124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1484324270327876</c:v>
                </c:pt>
                <c:pt idx="2">
                  <c:v>0.0038309291876119076</c:v>
                </c:pt>
                <c:pt idx="5">
                  <c:v>0.004617426471761396</c:v>
                </c:pt>
                <c:pt idx="6">
                  <c:v>0.003524905950631276</c:v>
                </c:pt>
                <c:pt idx="7">
                  <c:v>0.005492557622544246</c:v>
                </c:pt>
                <c:pt idx="8">
                  <c:v>0.00693742447714565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6827980835229728</c:v>
                </c:pt>
                <c:pt idx="2">
                  <c:v>0.0009096791184696197</c:v>
                </c:pt>
                <c:pt idx="3">
                  <c:v>0.011695083950406736</c:v>
                </c:pt>
                <c:pt idx="4">
                  <c:v>0.003929222237942272</c:v>
                </c:pt>
                <c:pt idx="5">
                  <c:v>0.014645083874779181</c:v>
                </c:pt>
                <c:pt idx="6">
                  <c:v>0.019918284184178823</c:v>
                </c:pt>
                <c:pt idx="7">
                  <c:v>0.020746368490913318</c:v>
                </c:pt>
                <c:pt idx="8">
                  <c:v>0.050855161410586915</c:v>
                </c:pt>
                <c:pt idx="9">
                  <c:v>0.016745667643053623</c:v>
                </c:pt>
                <c:pt idx="10">
                  <c:v>0.01434311037132364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07548800874716419</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233596176218836</c:v>
                </c:pt>
                <c:pt idx="1">
                  <c:v>0.0007822540091426719</c:v>
                </c:pt>
                <c:pt idx="2">
                  <c:v>0.004108226965347471</c:v>
                </c:pt>
                <c:pt idx="3">
                  <c:v>0.018405448488715077</c:v>
                </c:pt>
                <c:pt idx="4">
                  <c:v>0.004805095026671887</c:v>
                </c:pt>
                <c:pt idx="5">
                  <c:v>0.016294637923490514</c:v>
                </c:pt>
                <c:pt idx="6">
                  <c:v>0.02455472000752307</c:v>
                </c:pt>
                <c:pt idx="7">
                  <c:v>0.041797228150943555</c:v>
                </c:pt>
                <c:pt idx="8">
                  <c:v>0.02965015165276212</c:v>
                </c:pt>
                <c:pt idx="9">
                  <c:v>0.026646496825179687</c:v>
                </c:pt>
                <c:pt idx="10">
                  <c:v>0.0318131891428693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2235203132560058</c:v>
                </c:pt>
                <c:pt idx="2">
                  <c:v>0.001587315504631151</c:v>
                </c:pt>
                <c:pt idx="3">
                  <c:v>0.006863102889069504</c:v>
                </c:pt>
                <c:pt idx="4">
                  <c:v>0.01572715899342504</c:v>
                </c:pt>
                <c:pt idx="5">
                  <c:v>0.0038794102536269023</c:v>
                </c:pt>
                <c:pt idx="6">
                  <c:v>0.004677127668474298</c:v>
                </c:pt>
                <c:pt idx="7">
                  <c:v>0.0053969462312664215</c:v>
                </c:pt>
                <c:pt idx="8">
                  <c:v>0.00860968613074167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324290690392878</c:v>
                </c:pt>
                <c:pt idx="1">
                  <c:v>0.001878845406984964</c:v>
                </c:pt>
                <c:pt idx="2">
                  <c:v>0.0019412031712763883</c:v>
                </c:pt>
                <c:pt idx="3">
                  <c:v>0.00336856997257257</c:v>
                </c:pt>
                <c:pt idx="4">
                  <c:v>0.01735451661656897</c:v>
                </c:pt>
                <c:pt idx="5">
                  <c:v>0.041982278203454286</c:v>
                </c:pt>
                <c:pt idx="6">
                  <c:v>0.03465133184920087</c:v>
                </c:pt>
                <c:pt idx="7">
                  <c:v>0.045367086143703376</c:v>
                </c:pt>
                <c:pt idx="8">
                  <c:v>0.05429832129437551</c:v>
                </c:pt>
                <c:pt idx="9">
                  <c:v>0.0345537348976451</c:v>
                </c:pt>
                <c:pt idx="10">
                  <c:v>0.01800301394505409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8533402177718995</c:v>
                </c:pt>
                <c:pt idx="1">
                  <c:v>0.0014640925172520682</c:v>
                </c:pt>
                <c:pt idx="2">
                  <c:v>0.002617780278601174</c:v>
                </c:pt>
                <c:pt idx="3">
                  <c:v>0.0019930478923926276</c:v>
                </c:pt>
                <c:pt idx="4">
                  <c:v>0.00838227994695402</c:v>
                </c:pt>
                <c:pt idx="5">
                  <c:v>0.014741296760780793</c:v>
                </c:pt>
                <c:pt idx="6">
                  <c:v>0.03253967393009415</c:v>
                </c:pt>
                <c:pt idx="7">
                  <c:v>0.025626689350812592</c:v>
                </c:pt>
                <c:pt idx="8">
                  <c:v>0.05908455334537508</c:v>
                </c:pt>
                <c:pt idx="9">
                  <c:v>0.01275847403893927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662527329399</c:v>
                </c:pt>
                <c:pt idx="1">
                  <c:v>0.009922473300098737</c:v>
                </c:pt>
                <c:pt idx="2">
                  <c:v>0.016234090341292837</c:v>
                </c:pt>
                <c:pt idx="3">
                  <c:v>0.07892262515697393</c:v>
                </c:pt>
                <c:pt idx="4">
                  <c:v>0.06113448454300473</c:v>
                </c:pt>
                <c:pt idx="5">
                  <c:v>0.11702285157285876</c:v>
                </c:pt>
                <c:pt idx="6">
                  <c:v>0.1260705027379858</c:v>
                </c:pt>
                <c:pt idx="7">
                  <c:v>0.17930534937108045</c:v>
                </c:pt>
                <c:pt idx="8">
                  <c:v>0.22856998037928503</c:v>
                </c:pt>
                <c:pt idx="9">
                  <c:v>0.10314664132259938</c:v>
                </c:pt>
                <c:pt idx="10">
                  <c:v>0.0642047485418804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46778994022447</c:v>
                </c:pt>
                <c:pt idx="1">
                  <c:v>0.0029539602059522074</c:v>
                </c:pt>
                <c:pt idx="2">
                  <c:v>0.0005120164294924235</c:v>
                </c:pt>
                <c:pt idx="3">
                  <c:v>0.0013137774683138034</c:v>
                </c:pt>
                <c:pt idx="4">
                  <c:v>0.003151966152945229</c:v>
                </c:pt>
                <c:pt idx="5">
                  <c:v>0.008047332830049582</c:v>
                </c:pt>
                <c:pt idx="6">
                  <c:v>0.006192846000978409</c:v>
                </c:pt>
                <c:pt idx="7">
                  <c:v>0.006962191281209966</c:v>
                </c:pt>
                <c:pt idx="8">
                  <c:v>0.003323021042008797</c:v>
                </c:pt>
                <c:pt idx="9">
                  <c:v>0.000977246238777460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303497370545168</c:v>
                </c:pt>
                <c:pt idx="1">
                  <c:v>0.0008015867303194407</c:v>
                </c:pt>
                <c:pt idx="2">
                  <c:v>0.0045273898474471165</c:v>
                </c:pt>
                <c:pt idx="3">
                  <c:v>0.010784718575471577</c:v>
                </c:pt>
                <c:pt idx="4">
                  <c:v>0.014700803084192849</c:v>
                </c:pt>
                <c:pt idx="5">
                  <c:v>0.01641737998813221</c:v>
                </c:pt>
                <c:pt idx="6">
                  <c:v>0.009669039733590734</c:v>
                </c:pt>
                <c:pt idx="7">
                  <c:v>0.030122600347923512</c:v>
                </c:pt>
                <c:pt idx="8">
                  <c:v>0.01947100751642738</c:v>
                </c:pt>
                <c:pt idx="9">
                  <c:v>0.005899785373338700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952786168172719</c:v>
                </c:pt>
                <c:pt idx="4">
                  <c:v>0.001594827612528732</c:v>
                </c:pt>
                <c:pt idx="5">
                  <c:v>0.007150901400826601</c:v>
                </c:pt>
                <c:pt idx="6">
                  <c:v>0.0026931181094080954</c:v>
                </c:pt>
                <c:pt idx="7">
                  <c:v>0.006850399193774648</c:v>
                </c:pt>
                <c:pt idx="8">
                  <c:v>0.002859815077259134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1167271179697643</c:v>
                </c:pt>
                <c:pt idx="3">
                  <c:v>0.007866591272100692</c:v>
                </c:pt>
                <c:pt idx="4">
                  <c:v>0.00306945275553278</c:v>
                </c:pt>
                <c:pt idx="5">
                  <c:v>0.007875995923436902</c:v>
                </c:pt>
                <c:pt idx="6">
                  <c:v>0.021394408701084867</c:v>
                </c:pt>
                <c:pt idx="7">
                  <c:v>0.01895965680448826</c:v>
                </c:pt>
                <c:pt idx="8">
                  <c:v>0.044857697249526145</c:v>
                </c:pt>
                <c:pt idx="9">
                  <c:v>0.020567878127733034</c:v>
                </c:pt>
                <c:pt idx="10">
                  <c:v>0.0162305938479335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458028220179034</c:v>
                </c:pt>
                <c:pt idx="1">
                  <c:v>0.002824360392966828</c:v>
                </c:pt>
                <c:pt idx="2">
                  <c:v>0.0037830453902021554</c:v>
                </c:pt>
                <c:pt idx="3">
                  <c:v>0.010287898640572477</c:v>
                </c:pt>
                <c:pt idx="4">
                  <c:v>0.013736536319930227</c:v>
                </c:pt>
                <c:pt idx="5">
                  <c:v>0.015457709733540919</c:v>
                </c:pt>
                <c:pt idx="6">
                  <c:v>0.02399979194795353</c:v>
                </c:pt>
                <c:pt idx="7">
                  <c:v>0.047508936239190495</c:v>
                </c:pt>
                <c:pt idx="8">
                  <c:v>0.04131920195511013</c:v>
                </c:pt>
                <c:pt idx="9">
                  <c:v>0.011560691616408235</c:v>
                </c:pt>
                <c:pt idx="10">
                  <c:v>0.0552270782815825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726546897018518</c:v>
                </c:pt>
                <c:pt idx="1">
                  <c:v>0.004747573102930981</c:v>
                </c:pt>
                <c:pt idx="2">
                  <c:v>0.0027756355035595754</c:v>
                </c:pt>
                <c:pt idx="3">
                  <c:v>0.0033550427333496643</c:v>
                </c:pt>
                <c:pt idx="4">
                  <c:v>0.0058243693368307745</c:v>
                </c:pt>
                <c:pt idx="5">
                  <c:v>0.039079645300559046</c:v>
                </c:pt>
                <c:pt idx="6">
                  <c:v>0.03400025896208445</c:v>
                </c:pt>
                <c:pt idx="7">
                  <c:v>0.03770910107216722</c:v>
                </c:pt>
                <c:pt idx="8">
                  <c:v>0.07048411264086826</c:v>
                </c:pt>
                <c:pt idx="9">
                  <c:v>0.047224736557063725</c:v>
                </c:pt>
                <c:pt idx="10">
                  <c:v>0.00547626665594821</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891458822978722</c:v>
                </c:pt>
                <c:pt idx="1">
                  <c:v>0.0037684168378946032</c:v>
                </c:pt>
                <c:pt idx="2">
                  <c:v>0.007183977959039477</c:v>
                </c:pt>
                <c:pt idx="3">
                  <c:v>0.003760001303464391</c:v>
                </c:pt>
                <c:pt idx="4">
                  <c:v>0.009120133670043452</c:v>
                </c:pt>
                <c:pt idx="5">
                  <c:v>0.01105401310420501</c:v>
                </c:pt>
                <c:pt idx="6">
                  <c:v>0.022707547483203548</c:v>
                </c:pt>
                <c:pt idx="7">
                  <c:v>0.030871876452434447</c:v>
                </c:pt>
                <c:pt idx="8">
                  <c:v>0.06625722693024812</c:v>
                </c:pt>
                <c:pt idx="9">
                  <c:v>0.01242199309043797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4596147096625526</c:v>
                </c:pt>
                <c:pt idx="1">
                  <c:v>0.0012110511106796953</c:v>
                </c:pt>
                <c:pt idx="2">
                  <c:v>0.0016422824955552736</c:v>
                </c:pt>
                <c:pt idx="3">
                  <c:v>0.0014997540300186402</c:v>
                </c:pt>
                <c:pt idx="4">
                  <c:v>0.002605582656953765</c:v>
                </c:pt>
                <c:pt idx="5">
                  <c:v>0.007670364243679351</c:v>
                </c:pt>
                <c:pt idx="6">
                  <c:v>0.012691836961792952</c:v>
                </c:pt>
                <c:pt idx="7">
                  <c:v>0.0041352720002963035</c:v>
                </c:pt>
                <c:pt idx="8">
                  <c:v>0.0016727930962537197</c:v>
                </c:pt>
                <c:pt idx="9">
                  <c:v>0.000813860957106106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3377181962446</c:v>
                </c:pt>
                <c:pt idx="1">
                  <c:v>0.021306896673764054</c:v>
                </c:pt>
                <c:pt idx="2">
                  <c:v>0.025548831278795543</c:v>
                </c:pt>
                <c:pt idx="3">
                  <c:v>0.05776797036686218</c:v>
                </c:pt>
                <c:pt idx="4">
                  <c:v>0.07327807666778323</c:v>
                </c:pt>
                <c:pt idx="5">
                  <c:v>0.11719239595450313</c:v>
                </c:pt>
                <c:pt idx="6">
                  <c:v>0.1336363149639797</c:v>
                </c:pt>
                <c:pt idx="7">
                  <c:v>0.18577181469164547</c:v>
                </c:pt>
                <c:pt idx="8">
                  <c:v>0.2060222230819663</c:v>
                </c:pt>
                <c:pt idx="9">
                  <c:v>0.13022682695731488</c:v>
                </c:pt>
                <c:pt idx="10">
                  <c:v>0.0253148775437610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423272794025641</c:v>
                </c:pt>
                <c:pt idx="1">
                  <c:v>0.0018699801719232207</c:v>
                </c:pt>
                <c:pt idx="2">
                  <c:v>0.004222652462536406</c:v>
                </c:pt>
                <c:pt idx="3">
                  <c:v>0.020522626577420548</c:v>
                </c:pt>
                <c:pt idx="4">
                  <c:v>0.015975438218710107</c:v>
                </c:pt>
                <c:pt idx="5">
                  <c:v>0.015453939690534109</c:v>
                </c:pt>
                <c:pt idx="6">
                  <c:v>0.008674694676086671</c:v>
                </c:pt>
                <c:pt idx="7">
                  <c:v>0.025255939674247784</c:v>
                </c:pt>
                <c:pt idx="8">
                  <c:v>0.020739784650534145</c:v>
                </c:pt>
                <c:pt idx="9">
                  <c:v>0.002385663948605094</c:v>
                </c:pt>
                <c:pt idx="10">
                  <c:v>0.001114899249908473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597904123193365</c:v>
                </c:pt>
                <c:pt idx="4">
                  <c:v>0.003917576852268922</c:v>
                </c:pt>
                <c:pt idx="5">
                  <c:v>0.005462274682033424</c:v>
                </c:pt>
                <c:pt idx="6">
                  <c:v>0.0027437736051859835</c:v>
                </c:pt>
                <c:pt idx="7">
                  <c:v>0.0063472823685013615</c:v>
                </c:pt>
                <c:pt idx="8">
                  <c:v>0.001974670789438802</c:v>
                </c:pt>
                <c:pt idx="9">
                  <c:v>0.001771215959166699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0907894435441017</c:v>
                </c:pt>
                <c:pt idx="2">
                  <c:v>0.0008447272029785388</c:v>
                </c:pt>
                <c:pt idx="3">
                  <c:v>0.008416894814536469</c:v>
                </c:pt>
                <c:pt idx="4">
                  <c:v>0.0032998018464416566</c:v>
                </c:pt>
                <c:pt idx="5">
                  <c:v>0.011127523708940407</c:v>
                </c:pt>
                <c:pt idx="6">
                  <c:v>0.014121405645706695</c:v>
                </c:pt>
                <c:pt idx="7">
                  <c:v>0.03547640104056778</c:v>
                </c:pt>
                <c:pt idx="8">
                  <c:v>0.03517075838225815</c:v>
                </c:pt>
                <c:pt idx="9">
                  <c:v>0.022070509661563386</c:v>
                </c:pt>
                <c:pt idx="10">
                  <c:v>0.00663024812324943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040450129961954</c:v>
                </c:pt>
                <c:pt idx="1">
                  <c:v>0.00349355413344395</c:v>
                </c:pt>
                <c:pt idx="2">
                  <c:v>0.007632625972724029</c:v>
                </c:pt>
                <c:pt idx="3">
                  <c:v>0.011570778389017792</c:v>
                </c:pt>
                <c:pt idx="4">
                  <c:v>0.00868395687895207</c:v>
                </c:pt>
                <c:pt idx="5">
                  <c:v>0.025823844561111847</c:v>
                </c:pt>
                <c:pt idx="6">
                  <c:v>0.034517393584599855</c:v>
                </c:pt>
                <c:pt idx="7">
                  <c:v>0.03971042582722377</c:v>
                </c:pt>
                <c:pt idx="8">
                  <c:v>0.04140825924617529</c:v>
                </c:pt>
                <c:pt idx="9">
                  <c:v>0.04906695311993414</c:v>
                </c:pt>
                <c:pt idx="10">
                  <c:v>0.01512309601215673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872272484960622</c:v>
                </c:pt>
                <c:pt idx="1">
                  <c:v>0.005719814855652821</c:v>
                </c:pt>
                <c:pt idx="2">
                  <c:v>0.002347748256176413</c:v>
                </c:pt>
                <c:pt idx="3">
                  <c:v>0.005133942574851574</c:v>
                </c:pt>
                <c:pt idx="4">
                  <c:v>0.01386845203766713</c:v>
                </c:pt>
                <c:pt idx="5">
                  <c:v>0.036613656034084736</c:v>
                </c:pt>
                <c:pt idx="6">
                  <c:v>0.03309695329339816</c:v>
                </c:pt>
                <c:pt idx="7">
                  <c:v>0.04302194123023514</c:v>
                </c:pt>
                <c:pt idx="8">
                  <c:v>0.06125838566357726</c:v>
                </c:pt>
                <c:pt idx="9">
                  <c:v>0.03889475356374985</c:v>
                </c:pt>
                <c:pt idx="10">
                  <c:v>0.001586744692995805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949005832491818</c:v>
                </c:pt>
                <c:pt idx="1">
                  <c:v>0.006667058573808361</c:v>
                </c:pt>
                <c:pt idx="2">
                  <c:v>0.006063980399427411</c:v>
                </c:pt>
                <c:pt idx="3">
                  <c:v>0.004272133676868935</c:v>
                </c:pt>
                <c:pt idx="4">
                  <c:v>0.01087142499151664</c:v>
                </c:pt>
                <c:pt idx="5">
                  <c:v>0.014290463743192192</c:v>
                </c:pt>
                <c:pt idx="6">
                  <c:v>0.029265414690745215</c:v>
                </c:pt>
                <c:pt idx="7">
                  <c:v>0.033981436585880216</c:v>
                </c:pt>
                <c:pt idx="8">
                  <c:v>0.03509563580745347</c:v>
                </c:pt>
                <c:pt idx="9">
                  <c:v>0.016894529005197976</c:v>
                </c:pt>
                <c:pt idx="10">
                  <c:v>0.000840839411202855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3377181962446</c:v>
                </c:pt>
                <c:pt idx="1">
                  <c:v>0.021306896673764054</c:v>
                </c:pt>
                <c:pt idx="2">
                  <c:v>0.025548831278795543</c:v>
                </c:pt>
                <c:pt idx="3">
                  <c:v>0.05776797036686218</c:v>
                </c:pt>
                <c:pt idx="4">
                  <c:v>0.07327807666778323</c:v>
                </c:pt>
                <c:pt idx="5">
                  <c:v>0.11719239595450313</c:v>
                </c:pt>
                <c:pt idx="6">
                  <c:v>0.1336363149639797</c:v>
                </c:pt>
                <c:pt idx="7">
                  <c:v>0.18577181469164547</c:v>
                </c:pt>
                <c:pt idx="8">
                  <c:v>0.2060222230819663</c:v>
                </c:pt>
                <c:pt idx="9">
                  <c:v>0.13022682695731488</c:v>
                </c:pt>
                <c:pt idx="10">
                  <c:v>0.0253148775437610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7885755233114146</c:v>
                </c:pt>
                <c:pt idx="1">
                  <c:v>0.015469715292761314</c:v>
                </c:pt>
                <c:pt idx="2">
                  <c:v>0.020244464130741713</c:v>
                </c:pt>
                <c:pt idx="3">
                  <c:v>0.03755400655497744</c:v>
                </c:pt>
                <c:pt idx="4">
                  <c:v>0.04905687782348385</c:v>
                </c:pt>
                <c:pt idx="5">
                  <c:v>0.09755510829355343</c:v>
                </c:pt>
                <c:pt idx="6">
                  <c:v>0.12446288378971009</c:v>
                </c:pt>
                <c:pt idx="7">
                  <c:v>0.16930744291650024</c:v>
                </c:pt>
                <c:pt idx="8">
                  <c:v>0.24406203938843374</c:v>
                </c:pt>
                <c:pt idx="9">
                  <c:v>0.09848894572208777</c:v>
                </c:pt>
                <c:pt idx="10">
                  <c:v>0.0778346042391321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730827586005566</c:v>
                </c:pt>
                <c:pt idx="2">
                  <c:v>0.0028497099720507916</c:v>
                </c:pt>
                <c:pt idx="3">
                  <c:v>0.0009848533050039476</c:v>
                </c:pt>
                <c:pt idx="4">
                  <c:v>0.004562087169658495</c:v>
                </c:pt>
                <c:pt idx="5">
                  <c:v>0.009415266946315106</c:v>
                </c:pt>
                <c:pt idx="6">
                  <c:v>0.007089313658360362</c:v>
                </c:pt>
                <c:pt idx="7">
                  <c:v>0.0018401361323776464</c:v>
                </c:pt>
                <c:pt idx="8">
                  <c:v>0.003214038339129281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662527329399</c:v>
                </c:pt>
                <c:pt idx="1">
                  <c:v>0.009922473300098737</c:v>
                </c:pt>
                <c:pt idx="2">
                  <c:v>0.016234090341292837</c:v>
                </c:pt>
                <c:pt idx="3">
                  <c:v>0.07892262515697393</c:v>
                </c:pt>
                <c:pt idx="4">
                  <c:v>0.06113448454300473</c:v>
                </c:pt>
                <c:pt idx="5">
                  <c:v>0.11702285157285876</c:v>
                </c:pt>
                <c:pt idx="6">
                  <c:v>0.1260705027379858</c:v>
                </c:pt>
                <c:pt idx="7">
                  <c:v>0.17930534937108045</c:v>
                </c:pt>
                <c:pt idx="8">
                  <c:v>0.22856998037928503</c:v>
                </c:pt>
                <c:pt idx="9">
                  <c:v>0.10314664132259938</c:v>
                </c:pt>
                <c:pt idx="10">
                  <c:v>0.0642047485418804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6475234244963046</c:v>
                </c:pt>
                <c:pt idx="1">
                  <c:v>0.0021484324270327876</c:v>
                </c:pt>
                <c:pt idx="2">
                  <c:v>0.005958520937781016</c:v>
                </c:pt>
                <c:pt idx="3">
                  <c:v>0.025478176351973043</c:v>
                </c:pt>
                <c:pt idx="4">
                  <c:v>0.008270601632803765</c:v>
                </c:pt>
                <c:pt idx="5">
                  <c:v>0.015117349486164442</c:v>
                </c:pt>
                <c:pt idx="6">
                  <c:v>0.0057226296523407855</c:v>
                </c:pt>
                <c:pt idx="7">
                  <c:v>0.027661638160798394</c:v>
                </c:pt>
                <c:pt idx="8">
                  <c:v>0.018754507869795115</c:v>
                </c:pt>
                <c:pt idx="9">
                  <c:v>0.01110202568484124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1958758522147822</c:v>
                </c:pt>
                <c:pt idx="3">
                  <c:v>0.009855509573822144</c:v>
                </c:pt>
                <c:pt idx="4">
                  <c:v>0.005719409382308783</c:v>
                </c:pt>
                <c:pt idx="5">
                  <c:v>0.004337508565227065</c:v>
                </c:pt>
                <c:pt idx="6">
                  <c:v>0.0013018803595844597</c:v>
                </c:pt>
                <c:pt idx="7">
                  <c:v>0.011278574549747292</c:v>
                </c:pt>
                <c:pt idx="8">
                  <c:v>0.001746310151980969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6827980835229728</c:v>
                </c:pt>
                <c:pt idx="2">
                  <c:v>0.0009096791184696197</c:v>
                </c:pt>
                <c:pt idx="3">
                  <c:v>0.011695083950406736</c:v>
                </c:pt>
                <c:pt idx="4">
                  <c:v>0.003929222237942272</c:v>
                </c:pt>
                <c:pt idx="5">
                  <c:v>0.014645083874779181</c:v>
                </c:pt>
                <c:pt idx="6">
                  <c:v>0.019918284184178823</c:v>
                </c:pt>
                <c:pt idx="7">
                  <c:v>0.020746368490913318</c:v>
                </c:pt>
                <c:pt idx="8">
                  <c:v>0.050855161410586915</c:v>
                </c:pt>
                <c:pt idx="9">
                  <c:v>0.016745667643053623</c:v>
                </c:pt>
                <c:pt idx="10">
                  <c:v>0.01434311037132364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233596176218836</c:v>
                </c:pt>
                <c:pt idx="1">
                  <c:v>0.0007822540091426719</c:v>
                </c:pt>
                <c:pt idx="2">
                  <c:v>0.004108226965347471</c:v>
                </c:pt>
                <c:pt idx="3">
                  <c:v>0.018405448488715077</c:v>
                </c:pt>
                <c:pt idx="4">
                  <c:v>0.004805095026671887</c:v>
                </c:pt>
                <c:pt idx="5">
                  <c:v>0.016294637923490514</c:v>
                </c:pt>
                <c:pt idx="6">
                  <c:v>0.02455472000752307</c:v>
                </c:pt>
                <c:pt idx="7">
                  <c:v>0.041797228150943555</c:v>
                </c:pt>
                <c:pt idx="8">
                  <c:v>0.02965015165276212</c:v>
                </c:pt>
                <c:pt idx="9">
                  <c:v>0.026646496825179687</c:v>
                </c:pt>
                <c:pt idx="10">
                  <c:v>0.0318131891428693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324290690392878</c:v>
                </c:pt>
                <c:pt idx="1">
                  <c:v>0.001878845406984964</c:v>
                </c:pt>
                <c:pt idx="2">
                  <c:v>0.0019412031712763883</c:v>
                </c:pt>
                <c:pt idx="3">
                  <c:v>0.00336856997257257</c:v>
                </c:pt>
                <c:pt idx="4">
                  <c:v>0.01735451661656897</c:v>
                </c:pt>
                <c:pt idx="5">
                  <c:v>0.041982278203454286</c:v>
                </c:pt>
                <c:pt idx="6">
                  <c:v>0.03465133184920087</c:v>
                </c:pt>
                <c:pt idx="7">
                  <c:v>0.045367086143703376</c:v>
                </c:pt>
                <c:pt idx="8">
                  <c:v>0.05429832129437551</c:v>
                </c:pt>
                <c:pt idx="9">
                  <c:v>0.0345537348976451</c:v>
                </c:pt>
                <c:pt idx="10">
                  <c:v>0.01800301394505409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8533402177718995</c:v>
                </c:pt>
                <c:pt idx="1">
                  <c:v>0.0014640925172520682</c:v>
                </c:pt>
                <c:pt idx="2">
                  <c:v>0.002617780278601174</c:v>
                </c:pt>
                <c:pt idx="3">
                  <c:v>0.0019930478923926276</c:v>
                </c:pt>
                <c:pt idx="4">
                  <c:v>0.00838227994695402</c:v>
                </c:pt>
                <c:pt idx="5">
                  <c:v>0.014741296760780793</c:v>
                </c:pt>
                <c:pt idx="6">
                  <c:v>0.03253967393009415</c:v>
                </c:pt>
                <c:pt idx="7">
                  <c:v>0.025626689350812592</c:v>
                </c:pt>
                <c:pt idx="8">
                  <c:v>0.05908455334537508</c:v>
                </c:pt>
                <c:pt idx="9">
                  <c:v>0.01275847403893927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662527329399</c:v>
                </c:pt>
                <c:pt idx="1">
                  <c:v>0.009922473300098737</c:v>
                </c:pt>
                <c:pt idx="2">
                  <c:v>0.016234090341292837</c:v>
                </c:pt>
                <c:pt idx="3">
                  <c:v>0.07892262515697393</c:v>
                </c:pt>
                <c:pt idx="4">
                  <c:v>0.06113448454300473</c:v>
                </c:pt>
                <c:pt idx="5">
                  <c:v>0.11702285157285876</c:v>
                </c:pt>
                <c:pt idx="6">
                  <c:v>0.1260705027379858</c:v>
                </c:pt>
                <c:pt idx="7">
                  <c:v>0.17930534937108045</c:v>
                </c:pt>
                <c:pt idx="8">
                  <c:v>0.22856998037928503</c:v>
                </c:pt>
                <c:pt idx="9">
                  <c:v>0.10314664132259938</c:v>
                </c:pt>
                <c:pt idx="10">
                  <c:v>0.0642047485418804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46778994022447</c:v>
                </c:pt>
                <c:pt idx="1">
                  <c:v>0.0029539602059522074</c:v>
                </c:pt>
                <c:pt idx="2">
                  <c:v>0.0005120164294924235</c:v>
                </c:pt>
                <c:pt idx="3">
                  <c:v>0.0013137774683138034</c:v>
                </c:pt>
                <c:pt idx="4">
                  <c:v>0.003151966152945229</c:v>
                </c:pt>
                <c:pt idx="5">
                  <c:v>0.008047332830049582</c:v>
                </c:pt>
                <c:pt idx="6">
                  <c:v>0.006192846000978409</c:v>
                </c:pt>
                <c:pt idx="7">
                  <c:v>0.006962191281209966</c:v>
                </c:pt>
                <c:pt idx="8">
                  <c:v>0.003323021042008797</c:v>
                </c:pt>
                <c:pt idx="9">
                  <c:v>0.000977246238777460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662527329399</c:v>
                </c:pt>
                <c:pt idx="1">
                  <c:v>0.009922473300098737</c:v>
                </c:pt>
                <c:pt idx="2">
                  <c:v>0.016234090341292837</c:v>
                </c:pt>
                <c:pt idx="3">
                  <c:v>0.07892262515697393</c:v>
                </c:pt>
                <c:pt idx="4">
                  <c:v>0.06113448454300473</c:v>
                </c:pt>
                <c:pt idx="5">
                  <c:v>0.11702285157285876</c:v>
                </c:pt>
                <c:pt idx="6">
                  <c:v>0.1260705027379858</c:v>
                </c:pt>
                <c:pt idx="7">
                  <c:v>0.17930534937108045</c:v>
                </c:pt>
                <c:pt idx="8">
                  <c:v>0.22856998037928503</c:v>
                </c:pt>
                <c:pt idx="9">
                  <c:v>0.10314664132259938</c:v>
                </c:pt>
                <c:pt idx="10">
                  <c:v>0.0642047485418804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303497370545168</c:v>
                </c:pt>
                <c:pt idx="1">
                  <c:v>0.0008015867303194407</c:v>
                </c:pt>
                <c:pt idx="2">
                  <c:v>0.0045273898474471165</c:v>
                </c:pt>
                <c:pt idx="3">
                  <c:v>0.010784718575471577</c:v>
                </c:pt>
                <c:pt idx="4">
                  <c:v>0.014700803084192849</c:v>
                </c:pt>
                <c:pt idx="5">
                  <c:v>0.01641737998813221</c:v>
                </c:pt>
                <c:pt idx="6">
                  <c:v>0.009669039733590734</c:v>
                </c:pt>
                <c:pt idx="7">
                  <c:v>0.030122600347923512</c:v>
                </c:pt>
                <c:pt idx="8">
                  <c:v>0.01947100751642738</c:v>
                </c:pt>
                <c:pt idx="9">
                  <c:v>0.005899785373338700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1167271179697643</c:v>
                </c:pt>
                <c:pt idx="3">
                  <c:v>0.007866591272100692</c:v>
                </c:pt>
                <c:pt idx="4">
                  <c:v>0.00306945275553278</c:v>
                </c:pt>
                <c:pt idx="5">
                  <c:v>0.007875995923436902</c:v>
                </c:pt>
                <c:pt idx="6">
                  <c:v>0.021394408701084867</c:v>
                </c:pt>
                <c:pt idx="7">
                  <c:v>0.01895965680448826</c:v>
                </c:pt>
                <c:pt idx="8">
                  <c:v>0.044857697249526145</c:v>
                </c:pt>
                <c:pt idx="9">
                  <c:v>0.020567878127733034</c:v>
                </c:pt>
                <c:pt idx="10">
                  <c:v>0.0162305938479335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12361939349583002</c:v>
                </c:pt>
                <c:pt idx="6">
                  <c:v>0.0016416733299082027</c:v>
                </c:pt>
                <c:pt idx="7">
                  <c:v>0.0032795718054634735</c:v>
                </c:pt>
                <c:pt idx="8">
                  <c:v>0.007638179884782723</c:v>
                </c:pt>
                <c:pt idx="9">
                  <c:v>0.001039331152878540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458028220179034</c:v>
                </c:pt>
                <c:pt idx="1">
                  <c:v>0.002824360392966828</c:v>
                </c:pt>
                <c:pt idx="2">
                  <c:v>0.0037830453902021554</c:v>
                </c:pt>
                <c:pt idx="3">
                  <c:v>0.010287898640572477</c:v>
                </c:pt>
                <c:pt idx="4">
                  <c:v>0.013736536319930227</c:v>
                </c:pt>
                <c:pt idx="5">
                  <c:v>0.015457709733540919</c:v>
                </c:pt>
                <c:pt idx="6">
                  <c:v>0.02399979194795353</c:v>
                </c:pt>
                <c:pt idx="7">
                  <c:v>0.047508936239190495</c:v>
                </c:pt>
                <c:pt idx="8">
                  <c:v>0.04131920195511013</c:v>
                </c:pt>
                <c:pt idx="9">
                  <c:v>0.011560691616408235</c:v>
                </c:pt>
                <c:pt idx="10">
                  <c:v>0.0552270782815825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24175732538136573</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726546897018518</c:v>
                </c:pt>
                <c:pt idx="1">
                  <c:v>0.004747573102930981</c:v>
                </c:pt>
                <c:pt idx="2">
                  <c:v>0.0027756355035595754</c:v>
                </c:pt>
                <c:pt idx="3">
                  <c:v>0.0033550427333496643</c:v>
                </c:pt>
                <c:pt idx="4">
                  <c:v>0.0058243693368307745</c:v>
                </c:pt>
                <c:pt idx="5">
                  <c:v>0.039079645300559046</c:v>
                </c:pt>
                <c:pt idx="6">
                  <c:v>0.03400025896208445</c:v>
                </c:pt>
                <c:pt idx="7">
                  <c:v>0.03770910107216722</c:v>
                </c:pt>
                <c:pt idx="8">
                  <c:v>0.07048411264086826</c:v>
                </c:pt>
                <c:pt idx="9">
                  <c:v>0.047224736557063725</c:v>
                </c:pt>
                <c:pt idx="10">
                  <c:v>0.00547626665594821</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54742707173999</c:v>
                </c:pt>
                <c:pt idx="1">
                  <c:v>0.009910382649887672</c:v>
                </c:pt>
                <c:pt idx="2">
                  <c:v>0.016047426900968092</c:v>
                </c:pt>
                <c:pt idx="3">
                  <c:v>0.062254104124373856</c:v>
                </c:pt>
                <c:pt idx="4">
                  <c:v>0.04589368161388614</c:v>
                </c:pt>
                <c:pt idx="5">
                  <c:v>0.1108279790787188</c:v>
                </c:pt>
                <c:pt idx="6">
                  <c:v>0.12357948562431612</c:v>
                </c:pt>
                <c:pt idx="7">
                  <c:v>0.16816120157838121</c:v>
                </c:pt>
                <c:pt idx="8">
                  <c:v>0.21596571661490355</c:v>
                </c:pt>
                <c:pt idx="9">
                  <c:v>0.1027836453284364</c:v>
                </c:pt>
                <c:pt idx="10">
                  <c:v>0.0642047485418804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891458822978722</c:v>
                </c:pt>
                <c:pt idx="1">
                  <c:v>0.0037684168378946032</c:v>
                </c:pt>
                <c:pt idx="2">
                  <c:v>0.007183977959039477</c:v>
                </c:pt>
                <c:pt idx="3">
                  <c:v>0.003760001303464391</c:v>
                </c:pt>
                <c:pt idx="4">
                  <c:v>0.009120133670043452</c:v>
                </c:pt>
                <c:pt idx="5">
                  <c:v>0.01105401310420501</c:v>
                </c:pt>
                <c:pt idx="6">
                  <c:v>0.022707547483203548</c:v>
                </c:pt>
                <c:pt idx="7">
                  <c:v>0.030871876452434447</c:v>
                </c:pt>
                <c:pt idx="8">
                  <c:v>0.06625722693024812</c:v>
                </c:pt>
                <c:pt idx="9">
                  <c:v>0.01242199309043797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4596147096625526</c:v>
                </c:pt>
                <c:pt idx="1">
                  <c:v>0.0012110511106796953</c:v>
                </c:pt>
                <c:pt idx="2">
                  <c:v>0.0016422824955552736</c:v>
                </c:pt>
                <c:pt idx="3">
                  <c:v>0.0014997540300186402</c:v>
                </c:pt>
                <c:pt idx="4">
                  <c:v>0.002605582656953765</c:v>
                </c:pt>
                <c:pt idx="5">
                  <c:v>0.007670364243679351</c:v>
                </c:pt>
                <c:pt idx="6">
                  <c:v>0.012691836961792952</c:v>
                </c:pt>
                <c:pt idx="7">
                  <c:v>0.0041352720002963035</c:v>
                </c:pt>
                <c:pt idx="8">
                  <c:v>0.0016727930962537197</c:v>
                </c:pt>
                <c:pt idx="9">
                  <c:v>0.000813860957106106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1484324270327876</c:v>
                </c:pt>
                <c:pt idx="2">
                  <c:v>0.0038309291876119076</c:v>
                </c:pt>
                <c:pt idx="5">
                  <c:v>0.004641500429849126</c:v>
                </c:pt>
                <c:pt idx="6">
                  <c:v>0.00356517233722336</c:v>
                </c:pt>
                <c:pt idx="7">
                  <c:v>0.0059789257397110706</c:v>
                </c:pt>
                <c:pt idx="8">
                  <c:v>0.00769230456461729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3377181962446</c:v>
                </c:pt>
                <c:pt idx="1">
                  <c:v>0.021306896673764054</c:v>
                </c:pt>
                <c:pt idx="2">
                  <c:v>0.025548831278795543</c:v>
                </c:pt>
                <c:pt idx="3">
                  <c:v>0.05776797036686218</c:v>
                </c:pt>
                <c:pt idx="4">
                  <c:v>0.07327807666778323</c:v>
                </c:pt>
                <c:pt idx="5">
                  <c:v>0.11719239595450313</c:v>
                </c:pt>
                <c:pt idx="6">
                  <c:v>0.1336363149639797</c:v>
                </c:pt>
                <c:pt idx="7">
                  <c:v>0.18577181469164547</c:v>
                </c:pt>
                <c:pt idx="8">
                  <c:v>0.2060222230819663</c:v>
                </c:pt>
                <c:pt idx="9">
                  <c:v>0.13022682695731488</c:v>
                </c:pt>
                <c:pt idx="10">
                  <c:v>0.0253148775437610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423272794025641</c:v>
                </c:pt>
                <c:pt idx="1">
                  <c:v>0.0018699801719232207</c:v>
                </c:pt>
                <c:pt idx="2">
                  <c:v>0.004222652462536406</c:v>
                </c:pt>
                <c:pt idx="3">
                  <c:v>0.020522626577420548</c:v>
                </c:pt>
                <c:pt idx="4">
                  <c:v>0.015975438218710107</c:v>
                </c:pt>
                <c:pt idx="5">
                  <c:v>0.015453939690534109</c:v>
                </c:pt>
                <c:pt idx="6">
                  <c:v>0.008674694676086671</c:v>
                </c:pt>
                <c:pt idx="7">
                  <c:v>0.025255939674247784</c:v>
                </c:pt>
                <c:pt idx="8">
                  <c:v>0.020739784650534145</c:v>
                </c:pt>
                <c:pt idx="9">
                  <c:v>0.002385663948605094</c:v>
                </c:pt>
                <c:pt idx="10">
                  <c:v>0.001114899249908473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0907894435441017</c:v>
                </c:pt>
                <c:pt idx="2">
                  <c:v>0.0008447272029785388</c:v>
                </c:pt>
                <c:pt idx="3">
                  <c:v>0.008416894814536469</c:v>
                </c:pt>
                <c:pt idx="4">
                  <c:v>0.0032998018464416566</c:v>
                </c:pt>
                <c:pt idx="5">
                  <c:v>0.011127523708940407</c:v>
                </c:pt>
                <c:pt idx="6">
                  <c:v>0.014121405645706695</c:v>
                </c:pt>
                <c:pt idx="7">
                  <c:v>0.03547640104056778</c:v>
                </c:pt>
                <c:pt idx="8">
                  <c:v>0.03517075838225815</c:v>
                </c:pt>
                <c:pt idx="9">
                  <c:v>0.022070509661563386</c:v>
                </c:pt>
                <c:pt idx="10">
                  <c:v>0.00663024812324943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0615610939737219</c:v>
                </c:pt>
                <c:pt idx="6">
                  <c:v>0.00233085348630125</c:v>
                </c:pt>
                <c:pt idx="7">
                  <c:v>0.005897317201748233</c:v>
                </c:pt>
                <c:pt idx="8">
                  <c:v>0.0050192282541131105</c:v>
                </c:pt>
                <c:pt idx="9">
                  <c:v>0.001262541247554443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040450129961954</c:v>
                </c:pt>
                <c:pt idx="1">
                  <c:v>0.00349355413344395</c:v>
                </c:pt>
                <c:pt idx="2">
                  <c:v>0.007632625972724029</c:v>
                </c:pt>
                <c:pt idx="3">
                  <c:v>0.011570778389017792</c:v>
                </c:pt>
                <c:pt idx="4">
                  <c:v>0.00868395687895207</c:v>
                </c:pt>
                <c:pt idx="5">
                  <c:v>0.025823844561111847</c:v>
                </c:pt>
                <c:pt idx="6">
                  <c:v>0.034517393584599855</c:v>
                </c:pt>
                <c:pt idx="7">
                  <c:v>0.03971042582722377</c:v>
                </c:pt>
                <c:pt idx="8">
                  <c:v>0.04140825924617529</c:v>
                </c:pt>
                <c:pt idx="9">
                  <c:v>0.04906695311993414</c:v>
                </c:pt>
                <c:pt idx="10">
                  <c:v>0.01512309601215673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6662083745334084</c:v>
                </c:pt>
                <c:pt idx="4">
                  <c:v>0.015161537120760142</c:v>
                </c:pt>
                <c:pt idx="5">
                  <c:v>0.006022352219571933</c:v>
                </c:pt>
                <c:pt idx="6">
                  <c:v>0.0018494970369205747</c:v>
                </c:pt>
                <c:pt idx="7">
                  <c:v>0.010201893528537212</c:v>
                </c:pt>
                <c:pt idx="8">
                  <c:v>0.01192581792459874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8954190397904273</c:v>
                </c:pt>
                <c:pt idx="8">
                  <c:v>0.003115047056249689</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872272484960622</c:v>
                </c:pt>
                <c:pt idx="1">
                  <c:v>0.005719814855652821</c:v>
                </c:pt>
                <c:pt idx="2">
                  <c:v>0.002347748256176413</c:v>
                </c:pt>
                <c:pt idx="3">
                  <c:v>0.005133942574851574</c:v>
                </c:pt>
                <c:pt idx="4">
                  <c:v>0.01386845203766713</c:v>
                </c:pt>
                <c:pt idx="5">
                  <c:v>0.036613656034084736</c:v>
                </c:pt>
                <c:pt idx="6">
                  <c:v>0.03309695329339816</c:v>
                </c:pt>
                <c:pt idx="7">
                  <c:v>0.04302194123023514</c:v>
                </c:pt>
                <c:pt idx="8">
                  <c:v>0.06125838566357726</c:v>
                </c:pt>
                <c:pt idx="9">
                  <c:v>0.03889475356374985</c:v>
                </c:pt>
                <c:pt idx="10">
                  <c:v>0.001586744692995805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949005832491818</c:v>
                </c:pt>
                <c:pt idx="1">
                  <c:v>0.006667058573808361</c:v>
                </c:pt>
                <c:pt idx="2">
                  <c:v>0.006063980399427411</c:v>
                </c:pt>
                <c:pt idx="3">
                  <c:v>0.004272133676868935</c:v>
                </c:pt>
                <c:pt idx="4">
                  <c:v>0.01087142499151664</c:v>
                </c:pt>
                <c:pt idx="5">
                  <c:v>0.014290463743192192</c:v>
                </c:pt>
                <c:pt idx="6">
                  <c:v>0.029265414690745215</c:v>
                </c:pt>
                <c:pt idx="7">
                  <c:v>0.033981436585880216</c:v>
                </c:pt>
                <c:pt idx="8">
                  <c:v>0.03509563580745347</c:v>
                </c:pt>
                <c:pt idx="9">
                  <c:v>0.016894529005197976</c:v>
                </c:pt>
                <c:pt idx="10">
                  <c:v>0.000840839411202855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3377181962446</c:v>
                </c:pt>
                <c:pt idx="1">
                  <c:v>0.021306896673764054</c:v>
                </c:pt>
                <c:pt idx="2">
                  <c:v>0.025548831278795543</c:v>
                </c:pt>
                <c:pt idx="3">
                  <c:v>0.05776797036686218</c:v>
                </c:pt>
                <c:pt idx="4">
                  <c:v>0.07327807666778323</c:v>
                </c:pt>
                <c:pt idx="5">
                  <c:v>0.11719239595450313</c:v>
                </c:pt>
                <c:pt idx="6">
                  <c:v>0.1336363149639797</c:v>
                </c:pt>
                <c:pt idx="7">
                  <c:v>0.18577181469164547</c:v>
                </c:pt>
                <c:pt idx="8">
                  <c:v>0.2060222230819663</c:v>
                </c:pt>
                <c:pt idx="9">
                  <c:v>0.13022682695731488</c:v>
                </c:pt>
                <c:pt idx="10">
                  <c:v>0.0253148775437610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730827586005566</c:v>
                </c:pt>
                <c:pt idx="2">
                  <c:v>0.0028497099720507916</c:v>
                </c:pt>
                <c:pt idx="3">
                  <c:v>0.0009848533050039476</c:v>
                </c:pt>
                <c:pt idx="4">
                  <c:v>0.004562087169658495</c:v>
                </c:pt>
                <c:pt idx="5">
                  <c:v>0.009415266946315106</c:v>
                </c:pt>
                <c:pt idx="6">
                  <c:v>0.007089313658360362</c:v>
                </c:pt>
                <c:pt idx="7">
                  <c:v>0.0018401361323776464</c:v>
                </c:pt>
                <c:pt idx="8">
                  <c:v>0.003214038339129281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662527329399</c:v>
                </c:pt>
                <c:pt idx="1">
                  <c:v>0.009922473300098737</c:v>
                </c:pt>
                <c:pt idx="2">
                  <c:v>0.016234090341292837</c:v>
                </c:pt>
                <c:pt idx="3">
                  <c:v>0.07892262515697393</c:v>
                </c:pt>
                <c:pt idx="4">
                  <c:v>0.06113448454300473</c:v>
                </c:pt>
                <c:pt idx="5">
                  <c:v>0.11702285157285876</c:v>
                </c:pt>
                <c:pt idx="6">
                  <c:v>0.1260705027379858</c:v>
                </c:pt>
                <c:pt idx="7">
                  <c:v>0.17930534937108045</c:v>
                </c:pt>
                <c:pt idx="8">
                  <c:v>0.22856998037928503</c:v>
                </c:pt>
                <c:pt idx="9">
                  <c:v>0.10314664132259938</c:v>
                </c:pt>
                <c:pt idx="10">
                  <c:v>0.0642047485418804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6475234244963046</c:v>
                </c:pt>
                <c:pt idx="1">
                  <c:v>0.0021484324270327876</c:v>
                </c:pt>
                <c:pt idx="2">
                  <c:v>0.005958520937781016</c:v>
                </c:pt>
                <c:pt idx="3">
                  <c:v>0.025478176351973043</c:v>
                </c:pt>
                <c:pt idx="4">
                  <c:v>0.008270601632803765</c:v>
                </c:pt>
                <c:pt idx="5">
                  <c:v>0.015117349486164442</c:v>
                </c:pt>
                <c:pt idx="6">
                  <c:v>0.0057226296523407855</c:v>
                </c:pt>
                <c:pt idx="7">
                  <c:v>0.027661638160798394</c:v>
                </c:pt>
                <c:pt idx="8">
                  <c:v>0.018754507869795115</c:v>
                </c:pt>
                <c:pt idx="9">
                  <c:v>0.01110202568484124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6827980835229728</c:v>
                </c:pt>
                <c:pt idx="2">
                  <c:v>0.0009096791184696197</c:v>
                </c:pt>
                <c:pt idx="3">
                  <c:v>0.011695083950406736</c:v>
                </c:pt>
                <c:pt idx="4">
                  <c:v>0.003929222237942272</c:v>
                </c:pt>
                <c:pt idx="5">
                  <c:v>0.014645083874779181</c:v>
                </c:pt>
                <c:pt idx="6">
                  <c:v>0.019918284184178823</c:v>
                </c:pt>
                <c:pt idx="7">
                  <c:v>0.020746368490913318</c:v>
                </c:pt>
                <c:pt idx="8">
                  <c:v>0.050855161410586915</c:v>
                </c:pt>
                <c:pt idx="9">
                  <c:v>0.016745667643053623</c:v>
                </c:pt>
                <c:pt idx="10">
                  <c:v>0.01434311037132364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930663666589375</c:v>
                </c:pt>
                <c:pt idx="6">
                  <c:v>0.0026673057547347686</c:v>
                </c:pt>
                <c:pt idx="7">
                  <c:v>0.002520593179594931</c:v>
                </c:pt>
                <c:pt idx="8">
                  <c:v>0.01274333226419284</c:v>
                </c:pt>
                <c:pt idx="9">
                  <c:v>0.001761660105800182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233596176218836</c:v>
                </c:pt>
                <c:pt idx="1">
                  <c:v>0.0007822540091426719</c:v>
                </c:pt>
                <c:pt idx="2">
                  <c:v>0.004108226965347471</c:v>
                </c:pt>
                <c:pt idx="3">
                  <c:v>0.018405448488715077</c:v>
                </c:pt>
                <c:pt idx="4">
                  <c:v>0.004805095026671887</c:v>
                </c:pt>
                <c:pt idx="5">
                  <c:v>0.016294637923490514</c:v>
                </c:pt>
                <c:pt idx="6">
                  <c:v>0.02455472000752307</c:v>
                </c:pt>
                <c:pt idx="7">
                  <c:v>0.041797228150943555</c:v>
                </c:pt>
                <c:pt idx="8">
                  <c:v>0.02965015165276212</c:v>
                </c:pt>
                <c:pt idx="9">
                  <c:v>0.026646496825179687</c:v>
                </c:pt>
                <c:pt idx="10">
                  <c:v>0.0318131891428693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256204195826442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324290690392878</c:v>
                </c:pt>
                <c:pt idx="1">
                  <c:v>0.001878845406984964</c:v>
                </c:pt>
                <c:pt idx="2">
                  <c:v>0.0019412031712763883</c:v>
                </c:pt>
                <c:pt idx="3">
                  <c:v>0.00336856997257257</c:v>
                </c:pt>
                <c:pt idx="4">
                  <c:v>0.01735451661656897</c:v>
                </c:pt>
                <c:pt idx="5">
                  <c:v>0.041982278203454286</c:v>
                </c:pt>
                <c:pt idx="6">
                  <c:v>0.03465133184920087</c:v>
                </c:pt>
                <c:pt idx="7">
                  <c:v>0.045367086143703376</c:v>
                </c:pt>
                <c:pt idx="8">
                  <c:v>0.05429832129437551</c:v>
                </c:pt>
                <c:pt idx="9">
                  <c:v>0.0345537348976451</c:v>
                </c:pt>
                <c:pt idx="10">
                  <c:v>0.01800301394505409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8533402177718995</c:v>
                </c:pt>
                <c:pt idx="1">
                  <c:v>0.0014640925172520682</c:v>
                </c:pt>
                <c:pt idx="2">
                  <c:v>0.002617780278601174</c:v>
                </c:pt>
                <c:pt idx="3">
                  <c:v>0.0019930478923926276</c:v>
                </c:pt>
                <c:pt idx="4">
                  <c:v>0.00838227994695402</c:v>
                </c:pt>
                <c:pt idx="5">
                  <c:v>0.014741296760780793</c:v>
                </c:pt>
                <c:pt idx="6">
                  <c:v>0.03253967393009415</c:v>
                </c:pt>
                <c:pt idx="7">
                  <c:v>0.025626689350812592</c:v>
                </c:pt>
                <c:pt idx="8">
                  <c:v>0.05908455334537508</c:v>
                </c:pt>
                <c:pt idx="9">
                  <c:v>0.01275847403893927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662527329399</c:v>
                </c:pt>
                <c:pt idx="1">
                  <c:v>0.009922473300098737</c:v>
                </c:pt>
                <c:pt idx="2">
                  <c:v>0.016234090341292837</c:v>
                </c:pt>
                <c:pt idx="3">
                  <c:v>0.07892262515697393</c:v>
                </c:pt>
                <c:pt idx="4">
                  <c:v>0.06113448454300473</c:v>
                </c:pt>
                <c:pt idx="5">
                  <c:v>0.11702285157285876</c:v>
                </c:pt>
                <c:pt idx="6">
                  <c:v>0.1260705027379858</c:v>
                </c:pt>
                <c:pt idx="7">
                  <c:v>0.17930534937108045</c:v>
                </c:pt>
                <c:pt idx="8">
                  <c:v>0.22856998037928503</c:v>
                </c:pt>
                <c:pt idx="9">
                  <c:v>0.10314664132259938</c:v>
                </c:pt>
                <c:pt idx="10">
                  <c:v>0.0642047485418804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46778994022447</c:v>
                </c:pt>
                <c:pt idx="1">
                  <c:v>0.0029539602059522074</c:v>
                </c:pt>
                <c:pt idx="2">
                  <c:v>0.0005120164294924235</c:v>
                </c:pt>
                <c:pt idx="3">
                  <c:v>0.0013137774683138034</c:v>
                </c:pt>
                <c:pt idx="4">
                  <c:v>0.003151966152945229</c:v>
                </c:pt>
                <c:pt idx="5">
                  <c:v>0.008047332830049582</c:v>
                </c:pt>
                <c:pt idx="6">
                  <c:v>0.006192846000978409</c:v>
                </c:pt>
                <c:pt idx="7">
                  <c:v>0.006962191281209966</c:v>
                </c:pt>
                <c:pt idx="8">
                  <c:v>0.003323021042008797</c:v>
                </c:pt>
                <c:pt idx="9">
                  <c:v>0.000977246238777460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4325718494863588</c:v>
                </c:pt>
                <c:pt idx="3">
                  <c:v>0.0010390500489843798</c:v>
                </c:pt>
                <c:pt idx="4">
                  <c:v>0.0007116564270688653</c:v>
                </c:pt>
                <c:pt idx="5">
                  <c:v>0.0028464754002435724</c:v>
                </c:pt>
                <c:pt idx="6">
                  <c:v>0.002175401498526393</c:v>
                </c:pt>
                <c:pt idx="7">
                  <c:v>0.006230260631537109</c:v>
                </c:pt>
                <c:pt idx="8">
                  <c:v>0.007335884273481526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7885755233114146</c:v>
                </c:pt>
                <c:pt idx="1">
                  <c:v>0.015469715292761314</c:v>
                </c:pt>
                <c:pt idx="2">
                  <c:v>0.020244464130741713</c:v>
                </c:pt>
                <c:pt idx="3">
                  <c:v>0.03755400655497744</c:v>
                </c:pt>
                <c:pt idx="4">
                  <c:v>0.04905687782348385</c:v>
                </c:pt>
                <c:pt idx="5">
                  <c:v>0.09755510829355343</c:v>
                </c:pt>
                <c:pt idx="6">
                  <c:v>0.12446288378971009</c:v>
                </c:pt>
                <c:pt idx="7">
                  <c:v>0.16930744291650024</c:v>
                </c:pt>
                <c:pt idx="8">
                  <c:v>0.24406203938843374</c:v>
                </c:pt>
                <c:pt idx="9">
                  <c:v>0.09848894572208777</c:v>
                </c:pt>
                <c:pt idx="10">
                  <c:v>0.0778346042391321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952786168172719</c:v>
                </c:pt>
                <c:pt idx="4">
                  <c:v>0.001594827612528732</c:v>
                </c:pt>
                <c:pt idx="5">
                  <c:v>0.007150901400826601</c:v>
                </c:pt>
                <c:pt idx="6">
                  <c:v>0.0026931181094080954</c:v>
                </c:pt>
                <c:pt idx="7">
                  <c:v>0.006850399193774648</c:v>
                </c:pt>
                <c:pt idx="8">
                  <c:v>0.002859815077259134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9118759455811816</c:v>
                </c:pt>
                <c:pt idx="3">
                  <c:v>0.00670978313527998</c:v>
                </c:pt>
                <c:pt idx="4">
                  <c:v>0.016025301594159526</c:v>
                </c:pt>
                <c:pt idx="5">
                  <c:v>0.004169774233407938</c:v>
                </c:pt>
                <c:pt idx="6">
                  <c:v>0.0011193709303274851</c:v>
                </c:pt>
                <c:pt idx="7">
                  <c:v>0.005785041594079108</c:v>
                </c:pt>
                <c:pt idx="8">
                  <c:v>0.00997977082033065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9118759455811816</c:v>
                </c:pt>
                <c:pt idx="3">
                  <c:v>0.00670978313527998</c:v>
                </c:pt>
                <c:pt idx="4">
                  <c:v>0.016025301594159526</c:v>
                </c:pt>
                <c:pt idx="5">
                  <c:v>0.004169774233407938</c:v>
                </c:pt>
                <c:pt idx="6">
                  <c:v>0.0011193709303274851</c:v>
                </c:pt>
                <c:pt idx="7">
                  <c:v>0.005785041594079108</c:v>
                </c:pt>
                <c:pt idx="8">
                  <c:v>0.00997977082033065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3377181962446</c:v>
                </c:pt>
                <c:pt idx="1">
                  <c:v>0.021306896673764054</c:v>
                </c:pt>
                <c:pt idx="2">
                  <c:v>0.025548831278795543</c:v>
                </c:pt>
                <c:pt idx="3">
                  <c:v>0.05776797036686218</c:v>
                </c:pt>
                <c:pt idx="4">
                  <c:v>0.07327807666778323</c:v>
                </c:pt>
                <c:pt idx="5">
                  <c:v>0.11719239595450313</c:v>
                </c:pt>
                <c:pt idx="6">
                  <c:v>0.1336363149639797</c:v>
                </c:pt>
                <c:pt idx="7">
                  <c:v>0.18577181469164547</c:v>
                </c:pt>
                <c:pt idx="8">
                  <c:v>0.2060222230819663</c:v>
                </c:pt>
                <c:pt idx="9">
                  <c:v>0.13022682695731488</c:v>
                </c:pt>
                <c:pt idx="10">
                  <c:v>0.0253148775437610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271021512496752</c:v>
                </c:pt>
                <c:pt idx="1">
                  <c:v>0.021245802265347145</c:v>
                </c:pt>
                <c:pt idx="2">
                  <c:v>0.02396144426589359</c:v>
                </c:pt>
                <c:pt idx="3">
                  <c:v>0.050901229337699264</c:v>
                </c:pt>
                <c:pt idx="4">
                  <c:v>0.0572611611429461</c:v>
                </c:pt>
                <c:pt idx="5">
                  <c:v>0.1127246946841784</c:v>
                </c:pt>
                <c:pt idx="6">
                  <c:v>0.12676517554889696</c:v>
                </c:pt>
                <c:pt idx="7">
                  <c:v>0.17928628049053233</c:v>
                </c:pt>
                <c:pt idx="8">
                  <c:v>0.19688686208912762</c:v>
                </c:pt>
                <c:pt idx="9">
                  <c:v>0.12974338337451596</c:v>
                </c:pt>
                <c:pt idx="10">
                  <c:v>0.02529582748951330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597904123193365</c:v>
                </c:pt>
                <c:pt idx="4">
                  <c:v>0.003917576852268922</c:v>
                </c:pt>
                <c:pt idx="5">
                  <c:v>0.005462274682033424</c:v>
                </c:pt>
                <c:pt idx="6">
                  <c:v>0.0027437736051859835</c:v>
                </c:pt>
                <c:pt idx="7">
                  <c:v>0.0063472823685013615</c:v>
                </c:pt>
                <c:pt idx="8">
                  <c:v>0.001974670789438802</c:v>
                </c:pt>
                <c:pt idx="9">
                  <c:v>0.001771215959166699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2235203132560058</c:v>
                </c:pt>
                <c:pt idx="2">
                  <c:v>0.001587315504631151</c:v>
                </c:pt>
                <c:pt idx="3">
                  <c:v>0.006863102889069504</c:v>
                </c:pt>
                <c:pt idx="4">
                  <c:v>0.01572715899342504</c:v>
                </c:pt>
                <c:pt idx="5">
                  <c:v>0.0038794102536269023</c:v>
                </c:pt>
                <c:pt idx="6">
                  <c:v>0.004677127668474298</c:v>
                </c:pt>
                <c:pt idx="7">
                  <c:v>0.0053969462312664215</c:v>
                </c:pt>
                <c:pt idx="8">
                  <c:v>0.00860968613074167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662527329399</c:v>
                </c:pt>
                <c:pt idx="1">
                  <c:v>0.009922473300098737</c:v>
                </c:pt>
                <c:pt idx="2">
                  <c:v>0.016234090341292837</c:v>
                </c:pt>
                <c:pt idx="3">
                  <c:v>0.07892262515697393</c:v>
                </c:pt>
                <c:pt idx="4">
                  <c:v>0.06113448454300473</c:v>
                </c:pt>
                <c:pt idx="5">
                  <c:v>0.11702285157285876</c:v>
                </c:pt>
                <c:pt idx="6">
                  <c:v>0.1260705027379858</c:v>
                </c:pt>
                <c:pt idx="7">
                  <c:v>0.17930534937108045</c:v>
                </c:pt>
                <c:pt idx="8">
                  <c:v>0.22856998037928503</c:v>
                </c:pt>
                <c:pt idx="9">
                  <c:v>0.10314664132259938</c:v>
                </c:pt>
                <c:pt idx="10">
                  <c:v>0.0642047485418804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54742707173999</c:v>
                </c:pt>
                <c:pt idx="1">
                  <c:v>0.009910382649887672</c:v>
                </c:pt>
                <c:pt idx="2">
                  <c:v>0.016047426900968092</c:v>
                </c:pt>
                <c:pt idx="3">
                  <c:v>0.062254104124373856</c:v>
                </c:pt>
                <c:pt idx="4">
                  <c:v>0.04589368161388614</c:v>
                </c:pt>
                <c:pt idx="5">
                  <c:v>0.1108279790787188</c:v>
                </c:pt>
                <c:pt idx="6">
                  <c:v>0.12357948562431612</c:v>
                </c:pt>
                <c:pt idx="7">
                  <c:v>0.16816120157838121</c:v>
                </c:pt>
                <c:pt idx="8">
                  <c:v>0.21596571661490355</c:v>
                </c:pt>
                <c:pt idx="9">
                  <c:v>0.1027836453284364</c:v>
                </c:pt>
                <c:pt idx="10">
                  <c:v>0.0642047485418804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1958758522147822</c:v>
                </c:pt>
                <c:pt idx="3">
                  <c:v>0.009855509573822144</c:v>
                </c:pt>
                <c:pt idx="4">
                  <c:v>0.005719409382308783</c:v>
                </c:pt>
                <c:pt idx="5">
                  <c:v>0.004337508565227065</c:v>
                </c:pt>
                <c:pt idx="6">
                  <c:v>0.0013018803595844597</c:v>
                </c:pt>
                <c:pt idx="7">
                  <c:v>0.011278574549747292</c:v>
                </c:pt>
                <c:pt idx="8">
                  <c:v>0.001746310151980969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6662083745334084</c:v>
                </c:pt>
                <c:pt idx="4">
                  <c:v>0.015161537120760142</c:v>
                </c:pt>
                <c:pt idx="5">
                  <c:v>0.006022352219571933</c:v>
                </c:pt>
                <c:pt idx="6">
                  <c:v>0.0018494970369205747</c:v>
                </c:pt>
                <c:pt idx="7">
                  <c:v>0.010201893528537212</c:v>
                </c:pt>
                <c:pt idx="8">
                  <c:v>0.01192581792459874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7885755233114146</c:v>
                </c:pt>
                <c:pt idx="1">
                  <c:v>0.015469715292761314</c:v>
                </c:pt>
                <c:pt idx="2">
                  <c:v>0.020244464130741713</c:v>
                </c:pt>
                <c:pt idx="3">
                  <c:v>0.03755400655497744</c:v>
                </c:pt>
                <c:pt idx="4">
                  <c:v>0.04905687782348385</c:v>
                </c:pt>
                <c:pt idx="5">
                  <c:v>0.09755510829355343</c:v>
                </c:pt>
                <c:pt idx="6">
                  <c:v>0.12446288378971009</c:v>
                </c:pt>
                <c:pt idx="7">
                  <c:v>0.16930744291650024</c:v>
                </c:pt>
                <c:pt idx="8">
                  <c:v>0.24406203938843374</c:v>
                </c:pt>
                <c:pt idx="9">
                  <c:v>0.09848894572208777</c:v>
                </c:pt>
                <c:pt idx="10">
                  <c:v>0.0778346042391321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12361939349583002</c:v>
                </c:pt>
                <c:pt idx="6">
                  <c:v>0.0016416733299082027</c:v>
                </c:pt>
                <c:pt idx="7">
                  <c:v>0.003407204552062407</c:v>
                </c:pt>
                <c:pt idx="8">
                  <c:v>0.01005575313859638</c:v>
                </c:pt>
                <c:pt idx="9">
                  <c:v>0.001039331152878540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9118759455811816</c:v>
                </c:pt>
                <c:pt idx="3">
                  <c:v>0.00670978313527998</c:v>
                </c:pt>
                <c:pt idx="4">
                  <c:v>0.016025301594159526</c:v>
                </c:pt>
                <c:pt idx="5">
                  <c:v>0.004169774233407938</c:v>
                </c:pt>
                <c:pt idx="6">
                  <c:v>0.0011193709303274851</c:v>
                </c:pt>
                <c:pt idx="7">
                  <c:v>0.005785041594079108</c:v>
                </c:pt>
                <c:pt idx="8">
                  <c:v>0.00997977082033065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38099837629244665</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3377181962446</c:v>
                </c:pt>
                <c:pt idx="1">
                  <c:v>0.021306896673764054</c:v>
                </c:pt>
                <c:pt idx="2">
                  <c:v>0.025548831278795543</c:v>
                </c:pt>
                <c:pt idx="3">
                  <c:v>0.05776797036686218</c:v>
                </c:pt>
                <c:pt idx="4">
                  <c:v>0.07327807666778323</c:v>
                </c:pt>
                <c:pt idx="5">
                  <c:v>0.11719239595450313</c:v>
                </c:pt>
                <c:pt idx="6">
                  <c:v>0.1336363149639797</c:v>
                </c:pt>
                <c:pt idx="7">
                  <c:v>0.18577181469164547</c:v>
                </c:pt>
                <c:pt idx="8">
                  <c:v>0.2060222230819663</c:v>
                </c:pt>
                <c:pt idx="9">
                  <c:v>0.13022682695731488</c:v>
                </c:pt>
                <c:pt idx="10">
                  <c:v>0.02531487754376105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271021512496752</c:v>
                </c:pt>
                <c:pt idx="1">
                  <c:v>0.021245802265347145</c:v>
                </c:pt>
                <c:pt idx="2">
                  <c:v>0.02396144426589359</c:v>
                </c:pt>
                <c:pt idx="3">
                  <c:v>0.050901229337699264</c:v>
                </c:pt>
                <c:pt idx="4">
                  <c:v>0.0572611611429461</c:v>
                </c:pt>
                <c:pt idx="5">
                  <c:v>0.1127246946841784</c:v>
                </c:pt>
                <c:pt idx="6">
                  <c:v>0.12676517554889696</c:v>
                </c:pt>
                <c:pt idx="7">
                  <c:v>0.17928628049053233</c:v>
                </c:pt>
                <c:pt idx="8">
                  <c:v>0.19688686208912762</c:v>
                </c:pt>
                <c:pt idx="9">
                  <c:v>0.12974338337451596</c:v>
                </c:pt>
                <c:pt idx="10">
                  <c:v>0.02529582748951330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0615610939737219</c:v>
                </c:pt>
                <c:pt idx="6">
                  <c:v>0.00233085348630125</c:v>
                </c:pt>
                <c:pt idx="7">
                  <c:v>0.00679273624153866</c:v>
                </c:pt>
                <c:pt idx="8">
                  <c:v>0.0081342753103628</c:v>
                </c:pt>
                <c:pt idx="9">
                  <c:v>0.001262541247554443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2235203132560058</c:v>
                </c:pt>
                <c:pt idx="2">
                  <c:v>0.001587315504631151</c:v>
                </c:pt>
                <c:pt idx="3">
                  <c:v>0.006863102889069504</c:v>
                </c:pt>
                <c:pt idx="4">
                  <c:v>0.01572715899342504</c:v>
                </c:pt>
                <c:pt idx="5">
                  <c:v>0.0038794102536269023</c:v>
                </c:pt>
                <c:pt idx="6">
                  <c:v>0.004677127668474298</c:v>
                </c:pt>
                <c:pt idx="7">
                  <c:v>0.0053969462312664215</c:v>
                </c:pt>
                <c:pt idx="8">
                  <c:v>0.00860968613074167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30977796906477184</c:v>
                </c:pt>
                <c:pt idx="6">
                  <c:v>0.0013900392398625149</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662527329399</c:v>
                </c:pt>
                <c:pt idx="1">
                  <c:v>0.009922473300098737</c:v>
                </c:pt>
                <c:pt idx="2">
                  <c:v>0.016234090341292837</c:v>
                </c:pt>
                <c:pt idx="3">
                  <c:v>0.07892262515697393</c:v>
                </c:pt>
                <c:pt idx="4">
                  <c:v>0.06113448454300473</c:v>
                </c:pt>
                <c:pt idx="5">
                  <c:v>0.11702285157285876</c:v>
                </c:pt>
                <c:pt idx="6">
                  <c:v>0.1260705027379858</c:v>
                </c:pt>
                <c:pt idx="7">
                  <c:v>0.17930534937108045</c:v>
                </c:pt>
                <c:pt idx="8">
                  <c:v>0.22856998037928503</c:v>
                </c:pt>
                <c:pt idx="9">
                  <c:v>0.10314664132259938</c:v>
                </c:pt>
                <c:pt idx="10">
                  <c:v>0.0642047485418804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454742707173999</c:v>
                </c:pt>
                <c:pt idx="1">
                  <c:v>0.009910382649887672</c:v>
                </c:pt>
                <c:pt idx="2">
                  <c:v>0.016047426900968092</c:v>
                </c:pt>
                <c:pt idx="3">
                  <c:v>0.062254104124373856</c:v>
                </c:pt>
                <c:pt idx="4">
                  <c:v>0.04589368161388614</c:v>
                </c:pt>
                <c:pt idx="5">
                  <c:v>0.1108279790787188</c:v>
                </c:pt>
                <c:pt idx="6">
                  <c:v>0.12357948562431612</c:v>
                </c:pt>
                <c:pt idx="7">
                  <c:v>0.16816120157838121</c:v>
                </c:pt>
                <c:pt idx="8">
                  <c:v>0.21596571661490355</c:v>
                </c:pt>
                <c:pt idx="9">
                  <c:v>0.1027836453284364</c:v>
                </c:pt>
                <c:pt idx="10">
                  <c:v>0.0642047485418804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930663666589375</c:v>
                </c:pt>
                <c:pt idx="6">
                  <c:v>0.0028025717336699414</c:v>
                </c:pt>
                <c:pt idx="7">
                  <c:v>0.002741562254154543</c:v>
                </c:pt>
                <c:pt idx="8">
                  <c:v>0.015305374222457263</c:v>
                </c:pt>
                <c:pt idx="9">
                  <c:v>0.001761660105800182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6662083745334084</c:v>
                </c:pt>
                <c:pt idx="4">
                  <c:v>0.015161537120760142</c:v>
                </c:pt>
                <c:pt idx="5">
                  <c:v>0.006022352219571933</c:v>
                </c:pt>
                <c:pt idx="6">
                  <c:v>0.0018494970369205747</c:v>
                </c:pt>
                <c:pt idx="7">
                  <c:v>0.010201893528537212</c:v>
                </c:pt>
                <c:pt idx="8">
                  <c:v>0.01192581792459874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60218724318651445</c:v>
                </c:pt>
                <c:pt idx="6">
                  <c:v>0.0009323901541902699</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 Id="rId7" Type="http://schemas.openxmlformats.org/officeDocument/2006/relationships/chart" Target="../charts/chart101.xml"/><Relationship Id="rId8" Type="http://schemas.openxmlformats.org/officeDocument/2006/relationships/chart" Target="../charts/chart102.xml"/><Relationship Id="rId9" Type="http://schemas.openxmlformats.org/officeDocument/2006/relationships/chart" Target="../charts/chart103.xml"/><Relationship Id="rId10" Type="http://schemas.openxmlformats.org/officeDocument/2006/relationships/chart" Target="../charts/chart104.xml"/><Relationship Id="rId11" Type="http://schemas.openxmlformats.org/officeDocument/2006/relationships/chart" Target="../charts/chart105.xml"/><Relationship Id="rId12" Type="http://schemas.openxmlformats.org/officeDocument/2006/relationships/chart" Target="../charts/chart106.xml"/><Relationship Id="rId13" Type="http://schemas.openxmlformats.org/officeDocument/2006/relationships/chart" Target="../charts/chart107.xml"/><Relationship Id="rId14" Type="http://schemas.openxmlformats.org/officeDocument/2006/relationships/chart" Target="../charts/chart108.xml"/><Relationship Id="rId15" Type="http://schemas.openxmlformats.org/officeDocument/2006/relationships/chart" Target="../charts/chart109.xml"/><Relationship Id="rId16" Type="http://schemas.openxmlformats.org/officeDocument/2006/relationships/chart" Target="../charts/chart1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 Id="rId8" Type="http://schemas.openxmlformats.org/officeDocument/2006/relationships/chart" Target="../charts/chart113.xml"/><Relationship Id="rId9" Type="http://schemas.openxmlformats.org/officeDocument/2006/relationships/chart" Target="../charts/chart114.xml"/><Relationship Id="rId10" Type="http://schemas.openxmlformats.org/officeDocument/2006/relationships/chart" Target="../charts/chart115.xml"/><Relationship Id="rId11" Type="http://schemas.openxmlformats.org/officeDocument/2006/relationships/chart" Target="../charts/chart116.xml"/><Relationship Id="rId12" Type="http://schemas.openxmlformats.org/officeDocument/2006/relationships/chart" Target="../charts/chart117.xml"/><Relationship Id="rId13" Type="http://schemas.openxmlformats.org/officeDocument/2006/relationships/chart" Target="../charts/chart118.xml"/><Relationship Id="rId14" Type="http://schemas.openxmlformats.org/officeDocument/2006/relationships/chart" Target="../charts/chart119.xml"/><Relationship Id="rId15" Type="http://schemas.openxmlformats.org/officeDocument/2006/relationships/chart" Target="../charts/chart120.xml"/><Relationship Id="rId16" Type="http://schemas.openxmlformats.org/officeDocument/2006/relationships/chart" Target="../charts/chart12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 Id="rId7" Type="http://schemas.openxmlformats.org/officeDocument/2006/relationships/chart" Target="../charts/chart123.xml"/><Relationship Id="rId8" Type="http://schemas.openxmlformats.org/officeDocument/2006/relationships/chart" Target="../charts/chart124.xml"/><Relationship Id="rId9" Type="http://schemas.openxmlformats.org/officeDocument/2006/relationships/chart" Target="../charts/chart125.xml"/><Relationship Id="rId10" Type="http://schemas.openxmlformats.org/officeDocument/2006/relationships/chart" Target="../charts/chart126.xml"/><Relationship Id="rId11" Type="http://schemas.openxmlformats.org/officeDocument/2006/relationships/chart" Target="../charts/chart127.xml"/><Relationship Id="rId12" Type="http://schemas.openxmlformats.org/officeDocument/2006/relationships/chart" Target="../charts/chart128.xml"/><Relationship Id="rId13" Type="http://schemas.openxmlformats.org/officeDocument/2006/relationships/chart" Target="../charts/chart129.xml"/><Relationship Id="rId14" Type="http://schemas.openxmlformats.org/officeDocument/2006/relationships/chart" Target="../charts/chart130.xml"/><Relationship Id="rId15" Type="http://schemas.openxmlformats.org/officeDocument/2006/relationships/chart" Target="../charts/chart131.xml"/><Relationship Id="rId16" Type="http://schemas.openxmlformats.org/officeDocument/2006/relationships/chart" Target="../charts/chart13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 Id="rId7" Type="http://schemas.openxmlformats.org/officeDocument/2006/relationships/chart" Target="../charts/chart145.xml"/><Relationship Id="rId8" Type="http://schemas.openxmlformats.org/officeDocument/2006/relationships/chart" Target="../charts/chart146.xml"/><Relationship Id="rId9" Type="http://schemas.openxmlformats.org/officeDocument/2006/relationships/chart" Target="../charts/chart147.xml"/><Relationship Id="rId10" Type="http://schemas.openxmlformats.org/officeDocument/2006/relationships/chart" Target="../charts/chart148.xml"/><Relationship Id="rId11" Type="http://schemas.openxmlformats.org/officeDocument/2006/relationships/chart" Target="../charts/chart149.xml"/><Relationship Id="rId12" Type="http://schemas.openxmlformats.org/officeDocument/2006/relationships/chart" Target="../charts/chart150.xml"/><Relationship Id="rId13" Type="http://schemas.openxmlformats.org/officeDocument/2006/relationships/chart" Target="../charts/chart151.xml"/><Relationship Id="rId14" Type="http://schemas.openxmlformats.org/officeDocument/2006/relationships/chart" Target="../charts/chart152.xml"/><Relationship Id="rId15" Type="http://schemas.openxmlformats.org/officeDocument/2006/relationships/chart" Target="../charts/chart153.xml"/><Relationship Id="rId16" Type="http://schemas.openxmlformats.org/officeDocument/2006/relationships/chart" Target="../charts/chart15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 Id="rId8" Type="http://schemas.openxmlformats.org/officeDocument/2006/relationships/chart" Target="../charts/chart157.xml"/><Relationship Id="rId9" Type="http://schemas.openxmlformats.org/officeDocument/2006/relationships/chart" Target="../charts/chart158.xml"/><Relationship Id="rId10" Type="http://schemas.openxmlformats.org/officeDocument/2006/relationships/chart" Target="../charts/chart159.xml"/><Relationship Id="rId11" Type="http://schemas.openxmlformats.org/officeDocument/2006/relationships/chart" Target="../charts/chart160.xml"/><Relationship Id="rId12" Type="http://schemas.openxmlformats.org/officeDocument/2006/relationships/chart" Target="../charts/chart161.xml"/><Relationship Id="rId13" Type="http://schemas.openxmlformats.org/officeDocument/2006/relationships/chart" Target="../charts/chart162.xml"/><Relationship Id="rId14" Type="http://schemas.openxmlformats.org/officeDocument/2006/relationships/chart" Target="../charts/chart163.xml"/><Relationship Id="rId15" Type="http://schemas.openxmlformats.org/officeDocument/2006/relationships/chart" Target="../charts/chart164.xml"/><Relationship Id="rId16" Type="http://schemas.openxmlformats.org/officeDocument/2006/relationships/chart" Target="../charts/chart16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 Id="rId7" Type="http://schemas.openxmlformats.org/officeDocument/2006/relationships/chart" Target="../charts/chart167.xml"/><Relationship Id="rId8" Type="http://schemas.openxmlformats.org/officeDocument/2006/relationships/chart" Target="../charts/chart168.xml"/><Relationship Id="rId9" Type="http://schemas.openxmlformats.org/officeDocument/2006/relationships/chart" Target="../charts/chart169.xml"/><Relationship Id="rId10" Type="http://schemas.openxmlformats.org/officeDocument/2006/relationships/chart" Target="../charts/chart170.xml"/><Relationship Id="rId11" Type="http://schemas.openxmlformats.org/officeDocument/2006/relationships/chart" Target="../charts/chart171.xml"/><Relationship Id="rId12" Type="http://schemas.openxmlformats.org/officeDocument/2006/relationships/chart" Target="../charts/chart172.xml"/><Relationship Id="rId13" Type="http://schemas.openxmlformats.org/officeDocument/2006/relationships/chart" Target="../charts/chart173.xml"/><Relationship Id="rId14" Type="http://schemas.openxmlformats.org/officeDocument/2006/relationships/chart" Target="../charts/chart174.xml"/><Relationship Id="rId15" Type="http://schemas.openxmlformats.org/officeDocument/2006/relationships/chart" Target="../charts/chart175.xml"/><Relationship Id="rId16" Type="http://schemas.openxmlformats.org/officeDocument/2006/relationships/chart" Target="../charts/chart17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 Id="rId14" Type="http://schemas.openxmlformats.org/officeDocument/2006/relationships/chart" Target="../charts/chart185.xml"/><Relationship Id="rId15" Type="http://schemas.openxmlformats.org/officeDocument/2006/relationships/chart" Target="../charts/chart186.xml"/><Relationship Id="rId16" Type="http://schemas.openxmlformats.org/officeDocument/2006/relationships/chart" Target="../charts/chart18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 Id="rId7" Type="http://schemas.openxmlformats.org/officeDocument/2006/relationships/chart" Target="../charts/chart189.xml"/><Relationship Id="rId8" Type="http://schemas.openxmlformats.org/officeDocument/2006/relationships/chart" Target="../charts/chart190.xml"/><Relationship Id="rId9" Type="http://schemas.openxmlformats.org/officeDocument/2006/relationships/chart" Target="../charts/chart191.xml"/><Relationship Id="rId10" Type="http://schemas.openxmlformats.org/officeDocument/2006/relationships/chart" Target="../charts/chart192.xml"/><Relationship Id="rId11" Type="http://schemas.openxmlformats.org/officeDocument/2006/relationships/chart" Target="../charts/chart193.xml"/><Relationship Id="rId12" Type="http://schemas.openxmlformats.org/officeDocument/2006/relationships/chart" Target="../charts/chart194.xml"/><Relationship Id="rId13" Type="http://schemas.openxmlformats.org/officeDocument/2006/relationships/chart" Target="../charts/chart195.xml"/><Relationship Id="rId14" Type="http://schemas.openxmlformats.org/officeDocument/2006/relationships/chart" Target="../charts/chart196.xml"/><Relationship Id="rId15" Type="http://schemas.openxmlformats.org/officeDocument/2006/relationships/chart" Target="../charts/chart197.xml"/><Relationship Id="rId16" Type="http://schemas.openxmlformats.org/officeDocument/2006/relationships/chart" Target="../charts/chart19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 Id="rId7" Type="http://schemas.openxmlformats.org/officeDocument/2006/relationships/chart" Target="../charts/chart200.xml"/><Relationship Id="rId8" Type="http://schemas.openxmlformats.org/officeDocument/2006/relationships/chart" Target="../charts/chart201.xml"/><Relationship Id="rId9" Type="http://schemas.openxmlformats.org/officeDocument/2006/relationships/chart" Target="../charts/chart202.xml"/><Relationship Id="rId10" Type="http://schemas.openxmlformats.org/officeDocument/2006/relationships/chart" Target="../charts/chart203.xml"/><Relationship Id="rId11" Type="http://schemas.openxmlformats.org/officeDocument/2006/relationships/chart" Target="../charts/chart204.xml"/><Relationship Id="rId12" Type="http://schemas.openxmlformats.org/officeDocument/2006/relationships/chart" Target="../charts/chart205.xml"/><Relationship Id="rId13" Type="http://schemas.openxmlformats.org/officeDocument/2006/relationships/chart" Target="../charts/chart206.xml"/><Relationship Id="rId14" Type="http://schemas.openxmlformats.org/officeDocument/2006/relationships/chart" Target="../charts/chart207.xml"/><Relationship Id="rId15" Type="http://schemas.openxmlformats.org/officeDocument/2006/relationships/chart" Target="../charts/chart208.xml"/><Relationship Id="rId16" Type="http://schemas.openxmlformats.org/officeDocument/2006/relationships/chart" Target="../charts/chart20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 Id="rId7" Type="http://schemas.openxmlformats.org/officeDocument/2006/relationships/chart" Target="../charts/chart13.xml"/><Relationship Id="rId8" Type="http://schemas.openxmlformats.org/officeDocument/2006/relationships/chart" Target="../charts/chart14.xml"/><Relationship Id="rId9" Type="http://schemas.openxmlformats.org/officeDocument/2006/relationships/chart" Target="../charts/chart15.xml"/><Relationship Id="rId10" Type="http://schemas.openxmlformats.org/officeDocument/2006/relationships/chart" Target="../charts/chart16.xml"/><Relationship Id="rId11" Type="http://schemas.openxmlformats.org/officeDocument/2006/relationships/chart" Target="../charts/chart17.xml"/><Relationship Id="rId12" Type="http://schemas.openxmlformats.org/officeDocument/2006/relationships/chart" Target="../charts/chart18.xml"/><Relationship Id="rId13" Type="http://schemas.openxmlformats.org/officeDocument/2006/relationships/chart" Target="../charts/chart19.xml"/><Relationship Id="rId14" Type="http://schemas.openxmlformats.org/officeDocument/2006/relationships/chart" Target="../charts/chart20.xml"/><Relationship Id="rId15" Type="http://schemas.openxmlformats.org/officeDocument/2006/relationships/chart" Target="../charts/chart21.xml"/><Relationship Id="rId16" Type="http://schemas.openxmlformats.org/officeDocument/2006/relationships/chart" Target="../charts/chart2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 Id="rId7" Type="http://schemas.openxmlformats.org/officeDocument/2006/relationships/chart" Target="../charts/chart211.xml"/><Relationship Id="rId8" Type="http://schemas.openxmlformats.org/officeDocument/2006/relationships/chart" Target="../charts/chart212.xml"/><Relationship Id="rId9" Type="http://schemas.openxmlformats.org/officeDocument/2006/relationships/chart" Target="../charts/chart213.xml"/><Relationship Id="rId10" Type="http://schemas.openxmlformats.org/officeDocument/2006/relationships/chart" Target="../charts/chart214.xml"/><Relationship Id="rId11" Type="http://schemas.openxmlformats.org/officeDocument/2006/relationships/chart" Target="../charts/chart215.xml"/><Relationship Id="rId12" Type="http://schemas.openxmlformats.org/officeDocument/2006/relationships/chart" Target="../charts/chart216.xml"/><Relationship Id="rId13" Type="http://schemas.openxmlformats.org/officeDocument/2006/relationships/chart" Target="../charts/chart217.xml"/><Relationship Id="rId14" Type="http://schemas.openxmlformats.org/officeDocument/2006/relationships/chart" Target="../charts/chart218.xml"/><Relationship Id="rId15" Type="http://schemas.openxmlformats.org/officeDocument/2006/relationships/chart" Target="../charts/chart219.xml"/><Relationship Id="rId16" Type="http://schemas.openxmlformats.org/officeDocument/2006/relationships/chart" Target="../charts/chart2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 Id="rId7" Type="http://schemas.openxmlformats.org/officeDocument/2006/relationships/chart" Target="../charts/chart222.xml"/><Relationship Id="rId8" Type="http://schemas.openxmlformats.org/officeDocument/2006/relationships/chart" Target="../charts/chart223.xml"/><Relationship Id="rId9" Type="http://schemas.openxmlformats.org/officeDocument/2006/relationships/chart" Target="../charts/chart224.xml"/><Relationship Id="rId10" Type="http://schemas.openxmlformats.org/officeDocument/2006/relationships/chart" Target="../charts/chart225.xml"/><Relationship Id="rId11" Type="http://schemas.openxmlformats.org/officeDocument/2006/relationships/chart" Target="../charts/chart226.xml"/><Relationship Id="rId12" Type="http://schemas.openxmlformats.org/officeDocument/2006/relationships/chart" Target="../charts/chart227.xml"/><Relationship Id="rId13" Type="http://schemas.openxmlformats.org/officeDocument/2006/relationships/chart" Target="../charts/chart228.xml"/><Relationship Id="rId14" Type="http://schemas.openxmlformats.org/officeDocument/2006/relationships/chart" Target="../charts/chart229.xml"/><Relationship Id="rId15" Type="http://schemas.openxmlformats.org/officeDocument/2006/relationships/chart" Target="../charts/chart230.xml"/><Relationship Id="rId16" Type="http://schemas.openxmlformats.org/officeDocument/2006/relationships/chart" Target="../charts/chart23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 Id="rId7" Type="http://schemas.openxmlformats.org/officeDocument/2006/relationships/chart" Target="../charts/chart233.xml"/><Relationship Id="rId8" Type="http://schemas.openxmlformats.org/officeDocument/2006/relationships/chart" Target="../charts/chart234.xml"/><Relationship Id="rId9" Type="http://schemas.openxmlformats.org/officeDocument/2006/relationships/chart" Target="../charts/chart235.xml"/><Relationship Id="rId10" Type="http://schemas.openxmlformats.org/officeDocument/2006/relationships/chart" Target="../charts/chart236.xml"/><Relationship Id="rId11" Type="http://schemas.openxmlformats.org/officeDocument/2006/relationships/chart" Target="../charts/chart237.xml"/><Relationship Id="rId12" Type="http://schemas.openxmlformats.org/officeDocument/2006/relationships/chart" Target="../charts/chart238.xml"/><Relationship Id="rId13" Type="http://schemas.openxmlformats.org/officeDocument/2006/relationships/chart" Target="../charts/chart239.xml"/><Relationship Id="rId14" Type="http://schemas.openxmlformats.org/officeDocument/2006/relationships/chart" Target="../charts/chart240.xml"/><Relationship Id="rId15" Type="http://schemas.openxmlformats.org/officeDocument/2006/relationships/chart" Target="../charts/chart241.xml"/><Relationship Id="rId16" Type="http://schemas.openxmlformats.org/officeDocument/2006/relationships/chart" Target="../charts/chart24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 Id="rId7" Type="http://schemas.openxmlformats.org/officeDocument/2006/relationships/chart" Target="../charts/chart244.xml"/><Relationship Id="rId8" Type="http://schemas.openxmlformats.org/officeDocument/2006/relationships/chart" Target="../charts/chart245.xml"/><Relationship Id="rId9" Type="http://schemas.openxmlformats.org/officeDocument/2006/relationships/chart" Target="../charts/chart246.xml"/><Relationship Id="rId10" Type="http://schemas.openxmlformats.org/officeDocument/2006/relationships/chart" Target="../charts/chart247.xml"/><Relationship Id="rId11" Type="http://schemas.openxmlformats.org/officeDocument/2006/relationships/chart" Target="../charts/chart248.xml"/><Relationship Id="rId12" Type="http://schemas.openxmlformats.org/officeDocument/2006/relationships/chart" Target="../charts/chart249.xml"/><Relationship Id="rId13" Type="http://schemas.openxmlformats.org/officeDocument/2006/relationships/chart" Target="../charts/chart250.xml"/><Relationship Id="rId14" Type="http://schemas.openxmlformats.org/officeDocument/2006/relationships/chart" Target="../charts/chart251.xml"/><Relationship Id="rId15" Type="http://schemas.openxmlformats.org/officeDocument/2006/relationships/chart" Target="../charts/chart252.xml"/><Relationship Id="rId16" Type="http://schemas.openxmlformats.org/officeDocument/2006/relationships/chart" Target="../charts/chart25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 Id="rId7" Type="http://schemas.openxmlformats.org/officeDocument/2006/relationships/chart" Target="../charts/chart255.xml"/><Relationship Id="rId8" Type="http://schemas.openxmlformats.org/officeDocument/2006/relationships/chart" Target="../charts/chart256.xml"/><Relationship Id="rId9" Type="http://schemas.openxmlformats.org/officeDocument/2006/relationships/chart" Target="../charts/chart257.xml"/><Relationship Id="rId10" Type="http://schemas.openxmlformats.org/officeDocument/2006/relationships/chart" Target="../charts/chart258.xml"/><Relationship Id="rId11" Type="http://schemas.openxmlformats.org/officeDocument/2006/relationships/chart" Target="../charts/chart259.xml"/><Relationship Id="rId12" Type="http://schemas.openxmlformats.org/officeDocument/2006/relationships/chart" Target="../charts/chart260.xml"/><Relationship Id="rId13" Type="http://schemas.openxmlformats.org/officeDocument/2006/relationships/chart" Target="../charts/chart261.xml"/><Relationship Id="rId14" Type="http://schemas.openxmlformats.org/officeDocument/2006/relationships/chart" Target="../charts/chart262.xml"/><Relationship Id="rId15" Type="http://schemas.openxmlformats.org/officeDocument/2006/relationships/chart" Target="../charts/chart263.xml"/><Relationship Id="rId16" Type="http://schemas.openxmlformats.org/officeDocument/2006/relationships/chart" Target="../charts/chart26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 Id="rId7" Type="http://schemas.openxmlformats.org/officeDocument/2006/relationships/chart" Target="../charts/chart277.xml"/><Relationship Id="rId8" Type="http://schemas.openxmlformats.org/officeDocument/2006/relationships/chart" Target="../charts/chart278.xml"/><Relationship Id="rId9" Type="http://schemas.openxmlformats.org/officeDocument/2006/relationships/chart" Target="../charts/chart279.xml"/><Relationship Id="rId10" Type="http://schemas.openxmlformats.org/officeDocument/2006/relationships/chart" Target="../charts/chart280.xml"/><Relationship Id="rId11" Type="http://schemas.openxmlformats.org/officeDocument/2006/relationships/chart" Target="../charts/chart281.xml"/><Relationship Id="rId12" Type="http://schemas.openxmlformats.org/officeDocument/2006/relationships/chart" Target="../charts/chart282.xml"/><Relationship Id="rId13" Type="http://schemas.openxmlformats.org/officeDocument/2006/relationships/chart" Target="../charts/chart283.xml"/><Relationship Id="rId14" Type="http://schemas.openxmlformats.org/officeDocument/2006/relationships/chart" Target="../charts/chart284.xml"/><Relationship Id="rId15" Type="http://schemas.openxmlformats.org/officeDocument/2006/relationships/chart" Target="../charts/chart285.xml"/><Relationship Id="rId16" Type="http://schemas.openxmlformats.org/officeDocument/2006/relationships/chart" Target="../charts/chart28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 Id="rId7" Type="http://schemas.openxmlformats.org/officeDocument/2006/relationships/chart" Target="../charts/chart288.xml"/><Relationship Id="rId8" Type="http://schemas.openxmlformats.org/officeDocument/2006/relationships/chart" Target="../charts/chart289.xml"/><Relationship Id="rId9" Type="http://schemas.openxmlformats.org/officeDocument/2006/relationships/chart" Target="../charts/chart290.xml"/><Relationship Id="rId10" Type="http://schemas.openxmlformats.org/officeDocument/2006/relationships/chart" Target="../charts/chart291.xml"/><Relationship Id="rId11" Type="http://schemas.openxmlformats.org/officeDocument/2006/relationships/chart" Target="../charts/chart292.xml"/><Relationship Id="rId12" Type="http://schemas.openxmlformats.org/officeDocument/2006/relationships/chart" Target="../charts/chart293.xml"/><Relationship Id="rId13" Type="http://schemas.openxmlformats.org/officeDocument/2006/relationships/chart" Target="../charts/chart294.xml"/><Relationship Id="rId14" Type="http://schemas.openxmlformats.org/officeDocument/2006/relationships/chart" Target="../charts/chart295.xml"/><Relationship Id="rId15" Type="http://schemas.openxmlformats.org/officeDocument/2006/relationships/chart" Target="../charts/chart296.xml"/><Relationship Id="rId16" Type="http://schemas.openxmlformats.org/officeDocument/2006/relationships/chart" Target="../charts/chart297.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 Id="rId8" Type="http://schemas.openxmlformats.org/officeDocument/2006/relationships/chart" Target="../charts/chart25.xml"/><Relationship Id="rId9" Type="http://schemas.openxmlformats.org/officeDocument/2006/relationships/chart" Target="../charts/chart26.xml"/><Relationship Id="rId10" Type="http://schemas.openxmlformats.org/officeDocument/2006/relationships/chart" Target="../charts/chart27.xml"/><Relationship Id="rId11" Type="http://schemas.openxmlformats.org/officeDocument/2006/relationships/chart" Target="../charts/chart28.xml"/><Relationship Id="rId12" Type="http://schemas.openxmlformats.org/officeDocument/2006/relationships/chart" Target="../charts/chart29.xml"/><Relationship Id="rId13" Type="http://schemas.openxmlformats.org/officeDocument/2006/relationships/chart" Target="../charts/chart30.xml"/><Relationship Id="rId14" Type="http://schemas.openxmlformats.org/officeDocument/2006/relationships/chart" Target="../charts/chart31.xml"/><Relationship Id="rId15" Type="http://schemas.openxmlformats.org/officeDocument/2006/relationships/chart" Target="../charts/chart32.xml"/><Relationship Id="rId16" Type="http://schemas.openxmlformats.org/officeDocument/2006/relationships/chart" Target="../charts/chart3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 Id="rId7" Type="http://schemas.openxmlformats.org/officeDocument/2006/relationships/chart" Target="../charts/chart35.xml"/><Relationship Id="rId8" Type="http://schemas.openxmlformats.org/officeDocument/2006/relationships/chart" Target="../charts/chart36.xml"/><Relationship Id="rId9" Type="http://schemas.openxmlformats.org/officeDocument/2006/relationships/chart" Target="../charts/chart37.xml"/><Relationship Id="rId10" Type="http://schemas.openxmlformats.org/officeDocument/2006/relationships/chart" Target="../charts/chart38.xml"/><Relationship Id="rId11" Type="http://schemas.openxmlformats.org/officeDocument/2006/relationships/chart" Target="../charts/chart39.xml"/><Relationship Id="rId12" Type="http://schemas.openxmlformats.org/officeDocument/2006/relationships/chart" Target="../charts/chart40.xml"/><Relationship Id="rId13" Type="http://schemas.openxmlformats.org/officeDocument/2006/relationships/chart" Target="../charts/chart41.xml"/><Relationship Id="rId14" Type="http://schemas.openxmlformats.org/officeDocument/2006/relationships/chart" Target="../charts/chart42.xml"/><Relationship Id="rId15" Type="http://schemas.openxmlformats.org/officeDocument/2006/relationships/chart" Target="../charts/chart43.xml"/><Relationship Id="rId16" Type="http://schemas.openxmlformats.org/officeDocument/2006/relationships/chart" Target="../charts/chart4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 Id="rId8" Type="http://schemas.openxmlformats.org/officeDocument/2006/relationships/chart" Target="../charts/chart47.xml"/><Relationship Id="rId9" Type="http://schemas.openxmlformats.org/officeDocument/2006/relationships/chart" Target="../charts/chart48.xml"/><Relationship Id="rId10" Type="http://schemas.openxmlformats.org/officeDocument/2006/relationships/chart" Target="../charts/chart49.xml"/><Relationship Id="rId11" Type="http://schemas.openxmlformats.org/officeDocument/2006/relationships/chart" Target="../charts/chart50.xml"/><Relationship Id="rId12" Type="http://schemas.openxmlformats.org/officeDocument/2006/relationships/chart" Target="../charts/chart51.xml"/><Relationship Id="rId13" Type="http://schemas.openxmlformats.org/officeDocument/2006/relationships/chart" Target="../charts/chart52.xml"/><Relationship Id="rId14" Type="http://schemas.openxmlformats.org/officeDocument/2006/relationships/chart" Target="../charts/chart53.xml"/><Relationship Id="rId15" Type="http://schemas.openxmlformats.org/officeDocument/2006/relationships/chart" Target="../charts/chart54.xml"/><Relationship Id="rId16" Type="http://schemas.openxmlformats.org/officeDocument/2006/relationships/chart" Target="../charts/chart5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 Id="rId7" Type="http://schemas.openxmlformats.org/officeDocument/2006/relationships/chart" Target="../charts/chart57.xml"/><Relationship Id="rId8" Type="http://schemas.openxmlformats.org/officeDocument/2006/relationships/chart" Target="../charts/chart58.xml"/><Relationship Id="rId9" Type="http://schemas.openxmlformats.org/officeDocument/2006/relationships/chart" Target="../charts/chart59.xml"/><Relationship Id="rId10" Type="http://schemas.openxmlformats.org/officeDocument/2006/relationships/chart" Target="../charts/chart60.xml"/><Relationship Id="rId11" Type="http://schemas.openxmlformats.org/officeDocument/2006/relationships/chart" Target="../charts/chart61.xml"/><Relationship Id="rId12" Type="http://schemas.openxmlformats.org/officeDocument/2006/relationships/chart" Target="../charts/chart62.xml"/><Relationship Id="rId13" Type="http://schemas.openxmlformats.org/officeDocument/2006/relationships/chart" Target="../charts/chart63.xml"/><Relationship Id="rId14" Type="http://schemas.openxmlformats.org/officeDocument/2006/relationships/chart" Target="../charts/chart64.xml"/><Relationship Id="rId15" Type="http://schemas.openxmlformats.org/officeDocument/2006/relationships/chart" Target="../charts/chart65.xml"/><Relationship Id="rId16" Type="http://schemas.openxmlformats.org/officeDocument/2006/relationships/chart" Target="../charts/chart6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 Id="rId8" Type="http://schemas.openxmlformats.org/officeDocument/2006/relationships/chart" Target="../charts/chart69.xml"/><Relationship Id="rId9" Type="http://schemas.openxmlformats.org/officeDocument/2006/relationships/chart" Target="../charts/chart70.xml"/><Relationship Id="rId10" Type="http://schemas.openxmlformats.org/officeDocument/2006/relationships/chart" Target="../charts/chart71.xml"/><Relationship Id="rId11" Type="http://schemas.openxmlformats.org/officeDocument/2006/relationships/chart" Target="../charts/chart72.xml"/><Relationship Id="rId12" Type="http://schemas.openxmlformats.org/officeDocument/2006/relationships/chart" Target="../charts/chart73.xml"/><Relationship Id="rId13" Type="http://schemas.openxmlformats.org/officeDocument/2006/relationships/chart" Target="../charts/chart74.xml"/><Relationship Id="rId14" Type="http://schemas.openxmlformats.org/officeDocument/2006/relationships/chart" Target="../charts/chart75.xml"/><Relationship Id="rId15" Type="http://schemas.openxmlformats.org/officeDocument/2006/relationships/chart" Target="../charts/chart76.xml"/><Relationship Id="rId16" Type="http://schemas.openxmlformats.org/officeDocument/2006/relationships/chart" Target="../charts/chart7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 Id="rId7" Type="http://schemas.openxmlformats.org/officeDocument/2006/relationships/chart" Target="../charts/chart79.xml"/><Relationship Id="rId8" Type="http://schemas.openxmlformats.org/officeDocument/2006/relationships/chart" Target="../charts/chart80.xml"/><Relationship Id="rId9" Type="http://schemas.openxmlformats.org/officeDocument/2006/relationships/chart" Target="../charts/chart81.xml"/><Relationship Id="rId10" Type="http://schemas.openxmlformats.org/officeDocument/2006/relationships/chart" Target="../charts/chart82.xml"/><Relationship Id="rId11" Type="http://schemas.openxmlformats.org/officeDocument/2006/relationships/chart" Target="../charts/chart83.xml"/><Relationship Id="rId12" Type="http://schemas.openxmlformats.org/officeDocument/2006/relationships/chart" Target="../charts/chart84.xml"/><Relationship Id="rId13" Type="http://schemas.openxmlformats.org/officeDocument/2006/relationships/chart" Target="../charts/chart85.xml"/><Relationship Id="rId14" Type="http://schemas.openxmlformats.org/officeDocument/2006/relationships/chart" Target="../charts/chart86.xml"/><Relationship Id="rId15" Type="http://schemas.openxmlformats.org/officeDocument/2006/relationships/chart" Target="../charts/chart87.xml"/><Relationship Id="rId16" Type="http://schemas.openxmlformats.org/officeDocument/2006/relationships/chart" Target="../charts/chart8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 Id="rId14" Type="http://schemas.openxmlformats.org/officeDocument/2006/relationships/chart" Target="../charts/chart97.xml"/><Relationship Id="rId15" Type="http://schemas.openxmlformats.org/officeDocument/2006/relationships/chart" Target="../charts/chart98.xml"/><Relationship Id="rId1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5117896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3422741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6405910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0641778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4377654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7078842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8219579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920250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0896961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2699920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597385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4745540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4356317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90714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34855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7849947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6762649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1928563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42446111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3682562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7066436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2398323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41215067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2420551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40098719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6818020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4726343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591</Words>
  <Application>Microsoft Office PowerPoint</Application>
  <PresentationFormat>On-screen Show (16:9)</PresentationFormat>
  <Paragraphs>1053</Paragraphs>
  <Slides>27</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4T07:1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